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4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832" r:id="rId4"/>
  </p:sldMasterIdLst>
  <p:notesMasterIdLst>
    <p:notesMasterId r:id="rId32"/>
  </p:notesMasterIdLst>
  <p:handoutMasterIdLst>
    <p:handoutMasterId r:id="rId33"/>
  </p:handoutMasterIdLst>
  <p:sldIdLst>
    <p:sldId id="2090649988" r:id="rId5"/>
    <p:sldId id="392" r:id="rId6"/>
    <p:sldId id="2090650072" r:id="rId7"/>
    <p:sldId id="2090650096" r:id="rId8"/>
    <p:sldId id="2090650095" r:id="rId9"/>
    <p:sldId id="2090650097" r:id="rId10"/>
    <p:sldId id="2090650081" r:id="rId11"/>
    <p:sldId id="2090650082" r:id="rId12"/>
    <p:sldId id="2090650079" r:id="rId13"/>
    <p:sldId id="2090650075" r:id="rId14"/>
    <p:sldId id="2090650074" r:id="rId15"/>
    <p:sldId id="2090650077" r:id="rId16"/>
    <p:sldId id="2090650078" r:id="rId17"/>
    <p:sldId id="2090650080" r:id="rId18"/>
    <p:sldId id="2090650083" r:id="rId19"/>
    <p:sldId id="2090650086" r:id="rId20"/>
    <p:sldId id="2090650087" r:id="rId21"/>
    <p:sldId id="2090650088" r:id="rId22"/>
    <p:sldId id="2090650089" r:id="rId23"/>
    <p:sldId id="2090650090" r:id="rId24"/>
    <p:sldId id="2090650091" r:id="rId25"/>
    <p:sldId id="2090650092" r:id="rId26"/>
    <p:sldId id="2090650059" r:id="rId27"/>
    <p:sldId id="2090650084" r:id="rId28"/>
    <p:sldId id="2090650093" r:id="rId29"/>
    <p:sldId id="2090650094" r:id="rId30"/>
    <p:sldId id="2090650076" r:id="rId31"/>
  </p:sldIdLst>
  <p:sldSz cx="12192000" cy="6858000"/>
  <p:notesSz cx="7315200" cy="96012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itle / TOC" id="{EA7E2E18-2723-4A9F-8819-26C4F3AE50FA}">
          <p14:sldIdLst>
            <p14:sldId id="2090649988"/>
            <p14:sldId id="392"/>
            <p14:sldId id="2090650072"/>
            <p14:sldId id="2090650096"/>
            <p14:sldId id="2090650095"/>
          </p14:sldIdLst>
        </p14:section>
        <p14:section name="Tableau" id="{57FD67B0-796F-4524-A61A-314665E03228}">
          <p14:sldIdLst>
            <p14:sldId id="2090650097"/>
            <p14:sldId id="2090650081"/>
            <p14:sldId id="2090650082"/>
            <p14:sldId id="2090650079"/>
            <p14:sldId id="2090650075"/>
            <p14:sldId id="2090650074"/>
            <p14:sldId id="2090650077"/>
            <p14:sldId id="2090650078"/>
            <p14:sldId id="2090650080"/>
            <p14:sldId id="2090650083"/>
            <p14:sldId id="2090650086"/>
            <p14:sldId id="2090650087"/>
            <p14:sldId id="2090650088"/>
            <p14:sldId id="2090650089"/>
            <p14:sldId id="2090650090"/>
            <p14:sldId id="2090650091"/>
            <p14:sldId id="2090650092"/>
          </p14:sldIdLst>
        </p14:section>
        <p14:section name="Appendix" id="{145E5A89-56A7-4918-B6E9-F301AB469DC5}">
          <p14:sldIdLst>
            <p14:sldId id="2090650059"/>
            <p14:sldId id="2090650084"/>
            <p14:sldId id="2090650093"/>
            <p14:sldId id="2090650094"/>
            <p14:sldId id="2090650076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pos="2424" userDrawn="1">
          <p15:clr>
            <a:srgbClr val="A4A3A4"/>
          </p15:clr>
        </p15:guide>
        <p15:guide id="4" pos="3360" userDrawn="1">
          <p15:clr>
            <a:srgbClr val="A4A3A4"/>
          </p15:clr>
        </p15:guide>
        <p15:guide id="5" pos="180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Good, Daniel" initials="GD" lastIdx="24" clrIdx="6">
    <p:extLst>
      <p:ext uri="{19B8F6BF-5375-455C-9EA6-DF929625EA0E}">
        <p15:presenceInfo xmlns:p15="http://schemas.microsoft.com/office/powerpoint/2012/main" userId="S::dangood@deloitte.com::98682f50-c9b6-47d6-be35-82e808f8c961" providerId="AD"/>
      </p:ext>
    </p:extLst>
  </p:cmAuthor>
  <p:cmAuthor id="1" name="Cornaghie, Drew (US - Arlington)" initials="CD(-A" lastIdx="7" clrIdx="0">
    <p:extLst>
      <p:ext uri="{19B8F6BF-5375-455C-9EA6-DF929625EA0E}">
        <p15:presenceInfo xmlns:p15="http://schemas.microsoft.com/office/powerpoint/2012/main" userId="S-1-5-21-238447276-1040861923-1850952788-1593432" providerId="AD"/>
      </p:ext>
    </p:extLst>
  </p:cmAuthor>
  <p:cmAuthor id="8" name="Coukos, Allison" initials="CA" lastIdx="8" clrIdx="7">
    <p:extLst>
      <p:ext uri="{19B8F6BF-5375-455C-9EA6-DF929625EA0E}">
        <p15:presenceInfo xmlns:p15="http://schemas.microsoft.com/office/powerpoint/2012/main" userId="S::acoukos@deloitte.com::82f65a54-1fe3-4463-9d07-66e1d0d25229" providerId="AD"/>
      </p:ext>
    </p:extLst>
  </p:cmAuthor>
  <p:cmAuthor id="2" name="Cornaghie, Drew" initials="CD" lastIdx="150" clrIdx="1">
    <p:extLst>
      <p:ext uri="{19B8F6BF-5375-455C-9EA6-DF929625EA0E}">
        <p15:presenceInfo xmlns:p15="http://schemas.microsoft.com/office/powerpoint/2012/main" userId="S::dcornaghie@deloitte.com::b821f9cb-2434-40f4-966c-fc69f4717489" providerId="AD"/>
      </p:ext>
    </p:extLst>
  </p:cmAuthor>
  <p:cmAuthor id="3" name="Lawson-Stopps, Amy" initials="LA" lastIdx="138" clrIdx="2">
    <p:extLst>
      <p:ext uri="{19B8F6BF-5375-455C-9EA6-DF929625EA0E}">
        <p15:presenceInfo xmlns:p15="http://schemas.microsoft.com/office/powerpoint/2012/main" userId="S::alawsonstopps@deloitte.com::81eca0c4-ce20-4011-aa58-4421d82cc6c4" providerId="AD"/>
      </p:ext>
    </p:extLst>
  </p:cmAuthor>
  <p:cmAuthor id="4" name="Moir, Ally" initials="MA" lastIdx="54" clrIdx="3">
    <p:extLst>
      <p:ext uri="{19B8F6BF-5375-455C-9EA6-DF929625EA0E}">
        <p15:presenceInfo xmlns:p15="http://schemas.microsoft.com/office/powerpoint/2012/main" userId="S::almoir@deloitte.com::51a50bb6-7756-4ffe-8025-69e31e705c7e" providerId="AD"/>
      </p:ext>
    </p:extLst>
  </p:cmAuthor>
  <p:cmAuthor id="5" name="Halbmaier, Crystal" initials="HC" lastIdx="3" clrIdx="4">
    <p:extLst>
      <p:ext uri="{19B8F6BF-5375-455C-9EA6-DF929625EA0E}">
        <p15:presenceInfo xmlns:p15="http://schemas.microsoft.com/office/powerpoint/2012/main" userId="S::chalbmaier@deloitte.com::fabeb7a4-76fb-4159-b332-3dc5f4702d45" providerId="AD"/>
      </p:ext>
    </p:extLst>
  </p:cmAuthor>
  <p:cmAuthor id="6" name="DeWerd, Lauren Ross" initials="DLR" lastIdx="4" clrIdx="5">
    <p:extLst>
      <p:ext uri="{19B8F6BF-5375-455C-9EA6-DF929625EA0E}">
        <p15:presenceInfo xmlns:p15="http://schemas.microsoft.com/office/powerpoint/2012/main" userId="S::ldewerd@deloitte.com::9b40a8df-9235-4b7e-a8be-90132455624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6D92"/>
    <a:srgbClr val="7ACAEE"/>
    <a:srgbClr val="36B9EE"/>
    <a:srgbClr val="182044"/>
    <a:srgbClr val="82CDEF"/>
    <a:srgbClr val="0878AA"/>
    <a:srgbClr val="13A2DE"/>
    <a:srgbClr val="658D9F"/>
    <a:srgbClr val="5EB6EC"/>
    <a:srgbClr val="4D9EC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B1D571D-6BB9-7647-BAB2-34C323BA4CE0}" v="2" dt="2022-02-23T03:09:14.329"/>
  </p1510:revLst>
</p1510:revInfo>
</file>

<file path=ppt/tableStyles.xml><?xml version="1.0" encoding="utf-8"?>
<a:tblStyleLst xmlns:a="http://schemas.openxmlformats.org/drawingml/2006/main" def="{5C22544A-7EE6-4342-B048-85BDC9FD1C3A}"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1285"/>
    <p:restoredTop sz="94660"/>
  </p:normalViewPr>
  <p:slideViewPr>
    <p:cSldViewPr snapToGrid="0">
      <p:cViewPr>
        <p:scale>
          <a:sx n="101" d="100"/>
          <a:sy n="101" d="100"/>
        </p:scale>
        <p:origin x="232" y="624"/>
      </p:cViewPr>
      <p:guideLst>
        <p:guide orient="horz" pos="2160"/>
        <p:guide pos="3840"/>
        <p:guide pos="2424"/>
        <p:guide pos="3360"/>
        <p:guide pos="180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microsoft.com/office/2016/11/relationships/changesInfo" Target="changesInfos/changesInfo1.xml"/><Relationship Id="rId21" Type="http://schemas.openxmlformats.org/officeDocument/2006/relationships/slide" Target="slides/slide17.xml"/><Relationship Id="rId34" Type="http://schemas.openxmlformats.org/officeDocument/2006/relationships/commentAuthors" Target="commentAuthor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handoutMaster" Target="handoutMasters/handoutMaster1.xml"/><Relationship Id="rId38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notesMaster" Target="notesMasters/notesMaster1.xml"/><Relationship Id="rId37" Type="http://schemas.openxmlformats.org/officeDocument/2006/relationships/theme" Target="theme/theme1.xml"/><Relationship Id="rId40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presProps" Target="presProp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Vu, Bic" userId="e2fcda8a-bf78-47ff-abcc-beb12a3bbd9b" providerId="ADAL" clId="{7B1D571D-6BB9-7647-BAB2-34C323BA4CE0}"/>
    <pc:docChg chg="undo custSel addSld delSld modSld sldOrd delSection modSection">
      <pc:chgData name="Vu, Bic" userId="e2fcda8a-bf78-47ff-abcc-beb12a3bbd9b" providerId="ADAL" clId="{7B1D571D-6BB9-7647-BAB2-34C323BA4CE0}" dt="2022-02-23T03:12:23.295" v="1240" actId="14100"/>
      <pc:docMkLst>
        <pc:docMk/>
      </pc:docMkLst>
      <pc:sldChg chg="addSp delSp modSp mod">
        <pc:chgData name="Vu, Bic" userId="e2fcda8a-bf78-47ff-abcc-beb12a3bbd9b" providerId="ADAL" clId="{7B1D571D-6BB9-7647-BAB2-34C323BA4CE0}" dt="2022-02-23T03:10:34.362" v="1235" actId="20577"/>
        <pc:sldMkLst>
          <pc:docMk/>
          <pc:sldMk cId="342653223" sldId="392"/>
        </pc:sldMkLst>
        <pc:spChg chg="mod">
          <ac:chgData name="Vu, Bic" userId="e2fcda8a-bf78-47ff-abcc-beb12a3bbd9b" providerId="ADAL" clId="{7B1D571D-6BB9-7647-BAB2-34C323BA4CE0}" dt="2022-02-23T03:06:43.832" v="833" actId="20577"/>
          <ac:spMkLst>
            <pc:docMk/>
            <pc:sldMk cId="342653223" sldId="392"/>
            <ac:spMk id="10" creationId="{8E2C60A2-B0BE-4AB7-BEA3-5304228A8737}"/>
          </ac:spMkLst>
        </pc:spChg>
        <pc:spChg chg="mod">
          <ac:chgData name="Vu, Bic" userId="e2fcda8a-bf78-47ff-abcc-beb12a3bbd9b" providerId="ADAL" clId="{7B1D571D-6BB9-7647-BAB2-34C323BA4CE0}" dt="2022-02-23T03:07:27.279" v="952" actId="20577"/>
          <ac:spMkLst>
            <pc:docMk/>
            <pc:sldMk cId="342653223" sldId="392"/>
            <ac:spMk id="35" creationId="{29C41DC4-9A95-4280-B777-EE3814BDC8F4}"/>
          </ac:spMkLst>
        </pc:spChg>
        <pc:spChg chg="add del mod">
          <ac:chgData name="Vu, Bic" userId="e2fcda8a-bf78-47ff-abcc-beb12a3bbd9b" providerId="ADAL" clId="{7B1D571D-6BB9-7647-BAB2-34C323BA4CE0}" dt="2022-02-23T03:10:28.022" v="1216" actId="478"/>
          <ac:spMkLst>
            <pc:docMk/>
            <pc:sldMk cId="342653223" sldId="392"/>
            <ac:spMk id="39" creationId="{A1EEFDA0-4410-0245-A176-E181AD44F48B}"/>
          </ac:spMkLst>
        </pc:spChg>
        <pc:spChg chg="mod">
          <ac:chgData name="Vu, Bic" userId="e2fcda8a-bf78-47ff-abcc-beb12a3bbd9b" providerId="ADAL" clId="{7B1D571D-6BB9-7647-BAB2-34C323BA4CE0}" dt="2022-02-23T03:07:52.002" v="1004" actId="20577"/>
          <ac:spMkLst>
            <pc:docMk/>
            <pc:sldMk cId="342653223" sldId="392"/>
            <ac:spMk id="44" creationId="{CD8DE107-0209-4CBA-A6D4-9950BFDDBCCC}"/>
          </ac:spMkLst>
        </pc:spChg>
        <pc:spChg chg="mod">
          <ac:chgData name="Vu, Bic" userId="e2fcda8a-bf78-47ff-abcc-beb12a3bbd9b" providerId="ADAL" clId="{7B1D571D-6BB9-7647-BAB2-34C323BA4CE0}" dt="2022-02-23T03:10:34.362" v="1235" actId="20577"/>
          <ac:spMkLst>
            <pc:docMk/>
            <pc:sldMk cId="342653223" sldId="392"/>
            <ac:spMk id="46" creationId="{EBA342C9-56FA-41D9-B825-4F175008B22B}"/>
          </ac:spMkLst>
        </pc:spChg>
        <pc:grpChg chg="mod">
          <ac:chgData name="Vu, Bic" userId="e2fcda8a-bf78-47ff-abcc-beb12a3bbd9b" providerId="ADAL" clId="{7B1D571D-6BB9-7647-BAB2-34C323BA4CE0}" dt="2022-02-23T03:09:20.303" v="1130" actId="14100"/>
          <ac:grpSpMkLst>
            <pc:docMk/>
            <pc:sldMk cId="342653223" sldId="392"/>
            <ac:grpSpMk id="20" creationId="{632FF18F-639D-4774-8D60-FB77ABB1A6CC}"/>
          </ac:grpSpMkLst>
        </pc:grpChg>
      </pc:sldChg>
      <pc:sldChg chg="del">
        <pc:chgData name="Vu, Bic" userId="e2fcda8a-bf78-47ff-abcc-beb12a3bbd9b" providerId="ADAL" clId="{7B1D571D-6BB9-7647-BAB2-34C323BA4CE0}" dt="2022-02-23T03:00:02.777" v="168" actId="18676"/>
        <pc:sldMkLst>
          <pc:docMk/>
          <pc:sldMk cId="1857956358" sldId="2090649984"/>
        </pc:sldMkLst>
      </pc:sldChg>
      <pc:sldChg chg="del">
        <pc:chgData name="Vu, Bic" userId="e2fcda8a-bf78-47ff-abcc-beb12a3bbd9b" providerId="ADAL" clId="{7B1D571D-6BB9-7647-BAB2-34C323BA4CE0}" dt="2022-02-23T02:59:48.551" v="167" actId="2696"/>
        <pc:sldMkLst>
          <pc:docMk/>
          <pc:sldMk cId="1370324272" sldId="2090650061"/>
        </pc:sldMkLst>
      </pc:sldChg>
      <pc:sldChg chg="del">
        <pc:chgData name="Vu, Bic" userId="e2fcda8a-bf78-47ff-abcc-beb12a3bbd9b" providerId="ADAL" clId="{7B1D571D-6BB9-7647-BAB2-34C323BA4CE0}" dt="2022-02-23T03:00:02.777" v="168" actId="18676"/>
        <pc:sldMkLst>
          <pc:docMk/>
          <pc:sldMk cId="363074642" sldId="2090650063"/>
        </pc:sldMkLst>
      </pc:sldChg>
      <pc:sldChg chg="del">
        <pc:chgData name="Vu, Bic" userId="e2fcda8a-bf78-47ff-abcc-beb12a3bbd9b" providerId="ADAL" clId="{7B1D571D-6BB9-7647-BAB2-34C323BA4CE0}" dt="2022-02-23T03:00:02.777" v="168" actId="18676"/>
        <pc:sldMkLst>
          <pc:docMk/>
          <pc:sldMk cId="2638442421" sldId="2090650068"/>
        </pc:sldMkLst>
      </pc:sldChg>
      <pc:sldChg chg="modSp mod ord">
        <pc:chgData name="Vu, Bic" userId="e2fcda8a-bf78-47ff-abcc-beb12a3bbd9b" providerId="ADAL" clId="{7B1D571D-6BB9-7647-BAB2-34C323BA4CE0}" dt="2022-02-23T03:06:15.201" v="765" actId="20577"/>
        <pc:sldMkLst>
          <pc:docMk/>
          <pc:sldMk cId="2788145813" sldId="2090650072"/>
        </pc:sldMkLst>
        <pc:spChg chg="mod">
          <ac:chgData name="Vu, Bic" userId="e2fcda8a-bf78-47ff-abcc-beb12a3bbd9b" providerId="ADAL" clId="{7B1D571D-6BB9-7647-BAB2-34C323BA4CE0}" dt="2022-02-23T03:06:15.201" v="765" actId="20577"/>
          <ac:spMkLst>
            <pc:docMk/>
            <pc:sldMk cId="2788145813" sldId="2090650072"/>
            <ac:spMk id="16" creationId="{71CC6877-37EB-4319-8B4B-BF7B394326C8}"/>
          </ac:spMkLst>
        </pc:spChg>
      </pc:sldChg>
      <pc:sldChg chg="ord">
        <pc:chgData name="Vu, Bic" userId="e2fcda8a-bf78-47ff-abcc-beb12a3bbd9b" providerId="ADAL" clId="{7B1D571D-6BB9-7647-BAB2-34C323BA4CE0}" dt="2022-02-23T03:11:13.037" v="1236" actId="20578"/>
        <pc:sldMkLst>
          <pc:docMk/>
          <pc:sldMk cId="323706436" sldId="2090650076"/>
        </pc:sldMkLst>
      </pc:sldChg>
      <pc:sldChg chg="delSp mod">
        <pc:chgData name="Vu, Bic" userId="e2fcda8a-bf78-47ff-abcc-beb12a3bbd9b" providerId="ADAL" clId="{7B1D571D-6BB9-7647-BAB2-34C323BA4CE0}" dt="2022-02-23T03:11:38.774" v="1237" actId="478"/>
        <pc:sldMkLst>
          <pc:docMk/>
          <pc:sldMk cId="592197473" sldId="2090650081"/>
        </pc:sldMkLst>
        <pc:spChg chg="del">
          <ac:chgData name="Vu, Bic" userId="e2fcda8a-bf78-47ff-abcc-beb12a3bbd9b" providerId="ADAL" clId="{7B1D571D-6BB9-7647-BAB2-34C323BA4CE0}" dt="2022-02-23T03:11:38.774" v="1237" actId="478"/>
          <ac:spMkLst>
            <pc:docMk/>
            <pc:sldMk cId="592197473" sldId="2090650081"/>
            <ac:spMk id="32" creationId="{8B483A13-F0E5-8149-A325-E3F7DC986A02}"/>
          </ac:spMkLst>
        </pc:spChg>
        <pc:spChg chg="del">
          <ac:chgData name="Vu, Bic" userId="e2fcda8a-bf78-47ff-abcc-beb12a3bbd9b" providerId="ADAL" clId="{7B1D571D-6BB9-7647-BAB2-34C323BA4CE0}" dt="2022-02-23T03:11:38.774" v="1237" actId="478"/>
          <ac:spMkLst>
            <pc:docMk/>
            <pc:sldMk cId="592197473" sldId="2090650081"/>
            <ac:spMk id="33" creationId="{1DD7AE8F-8C76-6747-BBA4-AFD729194368}"/>
          </ac:spMkLst>
        </pc:spChg>
        <pc:spChg chg="del">
          <ac:chgData name="Vu, Bic" userId="e2fcda8a-bf78-47ff-abcc-beb12a3bbd9b" providerId="ADAL" clId="{7B1D571D-6BB9-7647-BAB2-34C323BA4CE0}" dt="2022-02-23T03:11:38.774" v="1237" actId="478"/>
          <ac:spMkLst>
            <pc:docMk/>
            <pc:sldMk cId="592197473" sldId="2090650081"/>
            <ac:spMk id="36" creationId="{42709BA7-0389-6A49-9027-685CC9FEBCD1}"/>
          </ac:spMkLst>
        </pc:spChg>
        <pc:spChg chg="del">
          <ac:chgData name="Vu, Bic" userId="e2fcda8a-bf78-47ff-abcc-beb12a3bbd9b" providerId="ADAL" clId="{7B1D571D-6BB9-7647-BAB2-34C323BA4CE0}" dt="2022-02-23T03:11:38.774" v="1237" actId="478"/>
          <ac:spMkLst>
            <pc:docMk/>
            <pc:sldMk cId="592197473" sldId="2090650081"/>
            <ac:spMk id="37" creationId="{3BEF532F-E75D-AB43-8FBE-94F260393324}"/>
          </ac:spMkLst>
        </pc:spChg>
        <pc:grpChg chg="del">
          <ac:chgData name="Vu, Bic" userId="e2fcda8a-bf78-47ff-abcc-beb12a3bbd9b" providerId="ADAL" clId="{7B1D571D-6BB9-7647-BAB2-34C323BA4CE0}" dt="2022-02-23T03:11:38.774" v="1237" actId="478"/>
          <ac:grpSpMkLst>
            <pc:docMk/>
            <pc:sldMk cId="592197473" sldId="2090650081"/>
            <ac:grpSpMk id="29" creationId="{C235A20D-594A-D140-B615-077887ED04CE}"/>
          </ac:grpSpMkLst>
        </pc:grpChg>
        <pc:grpChg chg="del">
          <ac:chgData name="Vu, Bic" userId="e2fcda8a-bf78-47ff-abcc-beb12a3bbd9b" providerId="ADAL" clId="{7B1D571D-6BB9-7647-BAB2-34C323BA4CE0}" dt="2022-02-23T03:11:38.774" v="1237" actId="478"/>
          <ac:grpSpMkLst>
            <pc:docMk/>
            <pc:sldMk cId="592197473" sldId="2090650081"/>
            <ac:grpSpMk id="31" creationId="{7C4AC187-7C48-D945-ACCD-E7C922711934}"/>
          </ac:grpSpMkLst>
        </pc:grpChg>
      </pc:sldChg>
      <pc:sldChg chg="modSp mod">
        <pc:chgData name="Vu, Bic" userId="e2fcda8a-bf78-47ff-abcc-beb12a3bbd9b" providerId="ADAL" clId="{7B1D571D-6BB9-7647-BAB2-34C323BA4CE0}" dt="2022-02-23T03:10:13.621" v="1214" actId="20577"/>
        <pc:sldMkLst>
          <pc:docMk/>
          <pc:sldMk cId="1091811538" sldId="2090650083"/>
        </pc:sldMkLst>
        <pc:spChg chg="mod">
          <ac:chgData name="Vu, Bic" userId="e2fcda8a-bf78-47ff-abcc-beb12a3bbd9b" providerId="ADAL" clId="{7B1D571D-6BB9-7647-BAB2-34C323BA4CE0}" dt="2022-02-23T03:10:13.621" v="1214" actId="20577"/>
          <ac:spMkLst>
            <pc:docMk/>
            <pc:sldMk cId="1091811538" sldId="2090650083"/>
            <ac:spMk id="16" creationId="{71CC6877-37EB-4319-8B4B-BF7B394326C8}"/>
          </ac:spMkLst>
        </pc:spChg>
      </pc:sldChg>
      <pc:sldChg chg="delSp mod ord">
        <pc:chgData name="Vu, Bic" userId="e2fcda8a-bf78-47ff-abcc-beb12a3bbd9b" providerId="ADAL" clId="{7B1D571D-6BB9-7647-BAB2-34C323BA4CE0}" dt="2022-02-23T03:12:04.383" v="1239" actId="20578"/>
        <pc:sldMkLst>
          <pc:docMk/>
          <pc:sldMk cId="2224509845" sldId="2090650084"/>
        </pc:sldMkLst>
        <pc:spChg chg="del">
          <ac:chgData name="Vu, Bic" userId="e2fcda8a-bf78-47ff-abcc-beb12a3bbd9b" providerId="ADAL" clId="{7B1D571D-6BB9-7647-BAB2-34C323BA4CE0}" dt="2022-02-23T02:56:44.263" v="3" actId="478"/>
          <ac:spMkLst>
            <pc:docMk/>
            <pc:sldMk cId="2224509845" sldId="2090650084"/>
            <ac:spMk id="26" creationId="{A7AAE704-41FA-F74B-82FA-95F5188954DE}"/>
          </ac:spMkLst>
        </pc:spChg>
      </pc:sldChg>
      <pc:sldChg chg="del">
        <pc:chgData name="Vu, Bic" userId="e2fcda8a-bf78-47ff-abcc-beb12a3bbd9b" providerId="ADAL" clId="{7B1D571D-6BB9-7647-BAB2-34C323BA4CE0}" dt="2022-02-23T03:12:00.599" v="1238" actId="2696"/>
        <pc:sldMkLst>
          <pc:docMk/>
          <pc:sldMk cId="1805413457" sldId="2090650085"/>
        </pc:sldMkLst>
      </pc:sldChg>
      <pc:sldChg chg="delSp mod">
        <pc:chgData name="Vu, Bic" userId="e2fcda8a-bf78-47ff-abcc-beb12a3bbd9b" providerId="ADAL" clId="{7B1D571D-6BB9-7647-BAB2-34C323BA4CE0}" dt="2022-02-23T02:56:25.213" v="1" actId="478"/>
        <pc:sldMkLst>
          <pc:docMk/>
          <pc:sldMk cId="427869342" sldId="2090650088"/>
        </pc:sldMkLst>
        <pc:spChg chg="del">
          <ac:chgData name="Vu, Bic" userId="e2fcda8a-bf78-47ff-abcc-beb12a3bbd9b" providerId="ADAL" clId="{7B1D571D-6BB9-7647-BAB2-34C323BA4CE0}" dt="2022-02-23T02:56:25.213" v="1" actId="478"/>
          <ac:spMkLst>
            <pc:docMk/>
            <pc:sldMk cId="427869342" sldId="2090650088"/>
            <ac:spMk id="33" creationId="{7C67C9E5-D519-9A40-9A46-D7A3A4F414B5}"/>
          </ac:spMkLst>
        </pc:spChg>
      </pc:sldChg>
      <pc:sldChg chg="modSp mod">
        <pc:chgData name="Vu, Bic" userId="e2fcda8a-bf78-47ff-abcc-beb12a3bbd9b" providerId="ADAL" clId="{7B1D571D-6BB9-7647-BAB2-34C323BA4CE0}" dt="2022-02-23T02:59:15.208" v="165" actId="1076"/>
        <pc:sldMkLst>
          <pc:docMk/>
          <pc:sldMk cId="3909422455" sldId="2090650090"/>
        </pc:sldMkLst>
        <pc:spChg chg="mod">
          <ac:chgData name="Vu, Bic" userId="e2fcda8a-bf78-47ff-abcc-beb12a3bbd9b" providerId="ADAL" clId="{7B1D571D-6BB9-7647-BAB2-34C323BA4CE0}" dt="2022-02-23T02:59:15.208" v="165" actId="1076"/>
          <ac:spMkLst>
            <pc:docMk/>
            <pc:sldMk cId="3909422455" sldId="2090650090"/>
            <ac:spMk id="29" creationId="{D1402C73-11CF-7C4E-9D24-9E3B9BDF2DEB}"/>
          </ac:spMkLst>
        </pc:spChg>
        <pc:picChg chg="mod">
          <ac:chgData name="Vu, Bic" userId="e2fcda8a-bf78-47ff-abcc-beb12a3bbd9b" providerId="ADAL" clId="{7B1D571D-6BB9-7647-BAB2-34C323BA4CE0}" dt="2022-02-23T02:58:44.852" v="164" actId="208"/>
          <ac:picMkLst>
            <pc:docMk/>
            <pc:sldMk cId="3909422455" sldId="2090650090"/>
            <ac:picMk id="25" creationId="{349C2FC6-EF5E-E946-AFB7-70A8E93759E2}"/>
          </ac:picMkLst>
        </pc:picChg>
      </pc:sldChg>
      <pc:sldChg chg="delSp mod">
        <pc:chgData name="Vu, Bic" userId="e2fcda8a-bf78-47ff-abcc-beb12a3bbd9b" providerId="ADAL" clId="{7B1D571D-6BB9-7647-BAB2-34C323BA4CE0}" dt="2022-02-23T02:56:32.956" v="2" actId="478"/>
        <pc:sldMkLst>
          <pc:docMk/>
          <pc:sldMk cId="2529212443" sldId="2090650092"/>
        </pc:sldMkLst>
        <pc:spChg chg="del">
          <ac:chgData name="Vu, Bic" userId="e2fcda8a-bf78-47ff-abcc-beb12a3bbd9b" providerId="ADAL" clId="{7B1D571D-6BB9-7647-BAB2-34C323BA4CE0}" dt="2022-02-23T02:56:32.956" v="2" actId="478"/>
          <ac:spMkLst>
            <pc:docMk/>
            <pc:sldMk cId="2529212443" sldId="2090650092"/>
            <ac:spMk id="31" creationId="{47751CAF-5DEF-374B-8084-2A32D6CE88D3}"/>
          </ac:spMkLst>
        </pc:spChg>
      </pc:sldChg>
      <pc:sldChg chg="ord">
        <pc:chgData name="Vu, Bic" userId="e2fcda8a-bf78-47ff-abcc-beb12a3bbd9b" providerId="ADAL" clId="{7B1D571D-6BB9-7647-BAB2-34C323BA4CE0}" dt="2022-02-23T02:59:38.538" v="166" actId="20578"/>
        <pc:sldMkLst>
          <pc:docMk/>
          <pc:sldMk cId="656993381" sldId="2090650093"/>
        </pc:sldMkLst>
      </pc:sldChg>
      <pc:sldChg chg="ord">
        <pc:chgData name="Vu, Bic" userId="e2fcda8a-bf78-47ff-abcc-beb12a3bbd9b" providerId="ADAL" clId="{7B1D571D-6BB9-7647-BAB2-34C323BA4CE0}" dt="2022-02-23T02:59:38.538" v="166" actId="20578"/>
        <pc:sldMkLst>
          <pc:docMk/>
          <pc:sldMk cId="3060107867" sldId="2090650094"/>
        </pc:sldMkLst>
      </pc:sldChg>
      <pc:sldChg chg="delSp add mod">
        <pc:chgData name="Vu, Bic" userId="e2fcda8a-bf78-47ff-abcc-beb12a3bbd9b" providerId="ADAL" clId="{7B1D571D-6BB9-7647-BAB2-34C323BA4CE0}" dt="2022-02-23T02:56:56.991" v="4" actId="478"/>
        <pc:sldMkLst>
          <pc:docMk/>
          <pc:sldMk cId="1235467891" sldId="2090650095"/>
        </pc:sldMkLst>
        <pc:spChg chg="del">
          <ac:chgData name="Vu, Bic" userId="e2fcda8a-bf78-47ff-abcc-beb12a3bbd9b" providerId="ADAL" clId="{7B1D571D-6BB9-7647-BAB2-34C323BA4CE0}" dt="2022-02-23T02:56:56.991" v="4" actId="478"/>
          <ac:spMkLst>
            <pc:docMk/>
            <pc:sldMk cId="1235467891" sldId="2090650095"/>
            <ac:spMk id="44" creationId="{46E751BD-FF9A-44F3-8267-4D4115C93DC2}"/>
          </ac:spMkLst>
        </pc:spChg>
        <pc:spChg chg="del">
          <ac:chgData name="Vu, Bic" userId="e2fcda8a-bf78-47ff-abcc-beb12a3bbd9b" providerId="ADAL" clId="{7B1D571D-6BB9-7647-BAB2-34C323BA4CE0}" dt="2022-02-23T02:56:56.991" v="4" actId="478"/>
          <ac:spMkLst>
            <pc:docMk/>
            <pc:sldMk cId="1235467891" sldId="2090650095"/>
            <ac:spMk id="45" creationId="{94FA0A09-26BF-4B2C-8381-FB45F52C5EB0}"/>
          </ac:spMkLst>
        </pc:spChg>
        <pc:grpChg chg="del">
          <ac:chgData name="Vu, Bic" userId="e2fcda8a-bf78-47ff-abcc-beb12a3bbd9b" providerId="ADAL" clId="{7B1D571D-6BB9-7647-BAB2-34C323BA4CE0}" dt="2022-02-23T02:56:56.991" v="4" actId="478"/>
          <ac:grpSpMkLst>
            <pc:docMk/>
            <pc:sldMk cId="1235467891" sldId="2090650095"/>
            <ac:grpSpMk id="4" creationId="{0A03E533-48C2-46FC-B7AA-FEE2FB77206D}"/>
          </ac:grpSpMkLst>
        </pc:grpChg>
      </pc:sldChg>
      <pc:sldChg chg="delSp modSp add mod ord">
        <pc:chgData name="Vu, Bic" userId="e2fcda8a-bf78-47ff-abcc-beb12a3bbd9b" providerId="ADAL" clId="{7B1D571D-6BB9-7647-BAB2-34C323BA4CE0}" dt="2022-02-23T03:12:23.295" v="1240" actId="14100"/>
        <pc:sldMkLst>
          <pc:docMk/>
          <pc:sldMk cId="1566140555" sldId="2090650096"/>
        </pc:sldMkLst>
        <pc:spChg chg="mod">
          <ac:chgData name="Vu, Bic" userId="e2fcda8a-bf78-47ff-abcc-beb12a3bbd9b" providerId="ADAL" clId="{7B1D571D-6BB9-7647-BAB2-34C323BA4CE0}" dt="2022-02-23T03:00:39.829" v="184" actId="20577"/>
          <ac:spMkLst>
            <pc:docMk/>
            <pc:sldMk cId="1566140555" sldId="2090650096"/>
            <ac:spMk id="2" creationId="{CD376810-B9DB-4A25-9348-F822C6E80FD9}"/>
          </ac:spMkLst>
        </pc:spChg>
        <pc:spChg chg="mod">
          <ac:chgData name="Vu, Bic" userId="e2fcda8a-bf78-47ff-abcc-beb12a3bbd9b" providerId="ADAL" clId="{7B1D571D-6BB9-7647-BAB2-34C323BA4CE0}" dt="2022-02-23T03:01:09.431" v="268" actId="20577"/>
          <ac:spMkLst>
            <pc:docMk/>
            <pc:sldMk cId="1566140555" sldId="2090650096"/>
            <ac:spMk id="9" creationId="{3ADCE901-7B20-4F20-9A4D-C9D052C4A326}"/>
          </ac:spMkLst>
        </pc:spChg>
        <pc:spChg chg="mod">
          <ac:chgData name="Vu, Bic" userId="e2fcda8a-bf78-47ff-abcc-beb12a3bbd9b" providerId="ADAL" clId="{7B1D571D-6BB9-7647-BAB2-34C323BA4CE0}" dt="2022-02-23T03:01:22.285" v="288" actId="20577"/>
          <ac:spMkLst>
            <pc:docMk/>
            <pc:sldMk cId="1566140555" sldId="2090650096"/>
            <ac:spMk id="19" creationId="{6F260B3D-5EC3-439D-8D42-3CC99ADE7A29}"/>
          </ac:spMkLst>
        </pc:spChg>
        <pc:spChg chg="mod">
          <ac:chgData name="Vu, Bic" userId="e2fcda8a-bf78-47ff-abcc-beb12a3bbd9b" providerId="ADAL" clId="{7B1D571D-6BB9-7647-BAB2-34C323BA4CE0}" dt="2022-02-23T03:04:35.015" v="636" actId="20577"/>
          <ac:spMkLst>
            <pc:docMk/>
            <pc:sldMk cId="1566140555" sldId="2090650096"/>
            <ac:spMk id="24" creationId="{734FBDB5-9636-4C79-A7E4-DEC39E62C0D8}"/>
          </ac:spMkLst>
        </pc:spChg>
        <pc:spChg chg="mod">
          <ac:chgData name="Vu, Bic" userId="e2fcda8a-bf78-47ff-abcc-beb12a3bbd9b" providerId="ADAL" clId="{7B1D571D-6BB9-7647-BAB2-34C323BA4CE0}" dt="2022-02-23T03:04:42.773" v="637" actId="1076"/>
          <ac:spMkLst>
            <pc:docMk/>
            <pc:sldMk cId="1566140555" sldId="2090650096"/>
            <ac:spMk id="26" creationId="{20C90180-B9E9-47A5-A9B9-BEB520DCF67C}"/>
          </ac:spMkLst>
        </pc:spChg>
        <pc:spChg chg="mod">
          <ac:chgData name="Vu, Bic" userId="e2fcda8a-bf78-47ff-abcc-beb12a3bbd9b" providerId="ADAL" clId="{7B1D571D-6BB9-7647-BAB2-34C323BA4CE0}" dt="2022-02-23T03:04:42.773" v="637" actId="1076"/>
          <ac:spMkLst>
            <pc:docMk/>
            <pc:sldMk cId="1566140555" sldId="2090650096"/>
            <ac:spMk id="27" creationId="{FA3F3445-4E8C-4F55-AAFF-320878630A5E}"/>
          </ac:spMkLst>
        </pc:spChg>
        <pc:spChg chg="mod">
          <ac:chgData name="Vu, Bic" userId="e2fcda8a-bf78-47ff-abcc-beb12a3bbd9b" providerId="ADAL" clId="{7B1D571D-6BB9-7647-BAB2-34C323BA4CE0}" dt="2022-02-23T03:04:42.773" v="637" actId="1076"/>
          <ac:spMkLst>
            <pc:docMk/>
            <pc:sldMk cId="1566140555" sldId="2090650096"/>
            <ac:spMk id="38" creationId="{1E8AC60E-E88E-482B-A50A-55CB8CC2849A}"/>
          </ac:spMkLst>
        </pc:spChg>
        <pc:spChg chg="mod">
          <ac:chgData name="Vu, Bic" userId="e2fcda8a-bf78-47ff-abcc-beb12a3bbd9b" providerId="ADAL" clId="{7B1D571D-6BB9-7647-BAB2-34C323BA4CE0}" dt="2022-02-23T03:05:22.074" v="721" actId="20577"/>
          <ac:spMkLst>
            <pc:docMk/>
            <pc:sldMk cId="1566140555" sldId="2090650096"/>
            <ac:spMk id="39" creationId="{AAC6DC2F-C391-4C5B-B650-3BED10B02C2E}"/>
          </ac:spMkLst>
        </pc:spChg>
        <pc:spChg chg="del">
          <ac:chgData name="Vu, Bic" userId="e2fcda8a-bf78-47ff-abcc-beb12a3bbd9b" providerId="ADAL" clId="{7B1D571D-6BB9-7647-BAB2-34C323BA4CE0}" dt="2022-02-23T03:03:58.050" v="624" actId="478"/>
          <ac:spMkLst>
            <pc:docMk/>
            <pc:sldMk cId="1566140555" sldId="2090650096"/>
            <ac:spMk id="41" creationId="{ECFC4259-CD4B-4A3D-BE80-FAF4C2453060}"/>
          </ac:spMkLst>
        </pc:spChg>
        <pc:spChg chg="del">
          <ac:chgData name="Vu, Bic" userId="e2fcda8a-bf78-47ff-abcc-beb12a3bbd9b" providerId="ADAL" clId="{7B1D571D-6BB9-7647-BAB2-34C323BA4CE0}" dt="2022-02-23T03:03:58.050" v="624" actId="478"/>
          <ac:spMkLst>
            <pc:docMk/>
            <pc:sldMk cId="1566140555" sldId="2090650096"/>
            <ac:spMk id="42" creationId="{72D5E0A8-16DD-42AE-9544-344B02B3D4AE}"/>
          </ac:spMkLst>
        </pc:spChg>
        <pc:grpChg chg="del">
          <ac:chgData name="Vu, Bic" userId="e2fcda8a-bf78-47ff-abcc-beb12a3bbd9b" providerId="ADAL" clId="{7B1D571D-6BB9-7647-BAB2-34C323BA4CE0}" dt="2022-02-23T03:03:58.050" v="624" actId="478"/>
          <ac:grpSpMkLst>
            <pc:docMk/>
            <pc:sldMk cId="1566140555" sldId="2090650096"/>
            <ac:grpSpMk id="40" creationId="{0E26B0F2-7013-4CAF-82D4-15226BA48EA2}"/>
          </ac:grpSpMkLst>
        </pc:grpChg>
        <pc:cxnChg chg="mod">
          <ac:chgData name="Vu, Bic" userId="e2fcda8a-bf78-47ff-abcc-beb12a3bbd9b" providerId="ADAL" clId="{7B1D571D-6BB9-7647-BAB2-34C323BA4CE0}" dt="2022-02-23T03:12:23.295" v="1240" actId="14100"/>
          <ac:cxnSpMkLst>
            <pc:docMk/>
            <pc:sldMk cId="1566140555" sldId="2090650096"/>
            <ac:cxnSpMk id="21" creationId="{BA340305-648C-405A-AC22-5904697B49D7}"/>
          </ac:cxnSpMkLst>
        </pc:cxnChg>
      </pc:sldChg>
      <pc:sldChg chg="add">
        <pc:chgData name="Vu, Bic" userId="e2fcda8a-bf78-47ff-abcc-beb12a3bbd9b" providerId="ADAL" clId="{7B1D571D-6BB9-7647-BAB2-34C323BA4CE0}" dt="2022-02-23T03:05:48.279" v="723" actId="2890"/>
        <pc:sldMkLst>
          <pc:docMk/>
          <pc:sldMk cId="1021459540" sldId="2090650097"/>
        </pc:sldMkLst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6EFCAEFF-B551-49C4-859F-B1220D0E740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170238" cy="4810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A97FABB-3FF1-460E-8E8F-C5392B63B84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143375" y="0"/>
            <a:ext cx="3170238" cy="4810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D9C590E-6E1F-447A-AC9C-D84E94C180AD}" type="datetimeFigureOut">
              <a:rPr lang="en-US" smtClean="0"/>
              <a:t>2/22/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10286E9-476B-4676-AFF4-6CFF176C72B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120188"/>
            <a:ext cx="3170238" cy="4810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C3DB77A-AC12-40FB-8B89-854C073B3F10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143375" y="9120188"/>
            <a:ext cx="3170238" cy="4810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701798-5243-43C8-A9B1-6234F7054CA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719042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0009095-4F22-40D4-8008-E5AC9FFF9E64}" type="datetimeFigureOut">
              <a:rPr lang="en-US" smtClean="0"/>
              <a:t>2/22/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A6A71A3-94CB-405B-96DF-8FCD277350E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979743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A6A71A3-94CB-405B-96DF-8FCD277350EF}" type="slidenum">
              <a:rPr lang="en-US" smtClean="0"/>
              <a:t>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538190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8A34052-12FB-4B01-8A2E-D87AD7371E95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863739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A6A71A3-94CB-405B-96DF-8FCD277350EF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046732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DATA</a:t>
            </a:r>
          </a:p>
          <a:p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https://www.forbes.com/sites/tomcoughlin/2018/11/27/175-zettabytes-by-2025/#6c8999b75459</a:t>
            </a:r>
          </a:p>
          <a:p>
            <a:r>
              <a:rPr lang="en-US" b="1"/>
              <a:t>ROI </a:t>
            </a:r>
          </a:p>
          <a:p>
            <a:r>
              <a:rPr lang="en-US"/>
              <a:t>https://fortune.com/2020/01/24/ai-ibm-human-resources/</a:t>
            </a:r>
          </a:p>
          <a:p>
            <a:r>
              <a:rPr lang="en-US" b="1"/>
              <a:t>National Priority</a:t>
            </a:r>
          </a:p>
          <a:p>
            <a:r>
              <a:rPr lang="en-US" b="0"/>
              <a:t>https://www.fedscoop.com/national-ai-initiative-office-launched/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89E7E8-36E4-467C-8300-85BCF6933FB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7562149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DATA</a:t>
            </a:r>
          </a:p>
          <a:p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https://www.forbes.com/sites/tomcoughlin/2018/11/27/175-zettabytes-by-2025/#6c8999b75459</a:t>
            </a:r>
          </a:p>
          <a:p>
            <a:r>
              <a:rPr lang="en-US" b="1"/>
              <a:t>ROI </a:t>
            </a:r>
          </a:p>
          <a:p>
            <a:r>
              <a:rPr lang="en-US"/>
              <a:t>https://fortune.com/2020/01/24/ai-ibm-human-resources/</a:t>
            </a:r>
          </a:p>
          <a:p>
            <a:r>
              <a:rPr lang="en-US" b="1"/>
              <a:t>National Priority</a:t>
            </a:r>
          </a:p>
          <a:p>
            <a:r>
              <a:rPr lang="en-US" b="0"/>
              <a:t>https://www.fedscoop.com/national-ai-initiative-office-launched/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89E7E8-36E4-467C-8300-85BCF6933FB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578096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A6A71A3-94CB-405B-96DF-8FCD277350EF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19443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A6A71A3-94CB-405B-96DF-8FCD277350EF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987533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A6A71A3-94CB-405B-96DF-8FCD277350EF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16693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7.bin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9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0.bin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2.bin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3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6.bin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75200" y="5530390"/>
            <a:ext cx="5592012" cy="324000"/>
          </a:xfr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1800"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22" name="Group 21"/>
          <p:cNvGrpSpPr>
            <a:grpSpLocks noChangeAspect="1"/>
          </p:cNvGrpSpPr>
          <p:nvPr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3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  <a:latin typeface="Open Sans" panose="020B0606030504020204" pitchFamily="34" charset="0"/>
              </a:endParaRPr>
            </a:p>
          </p:txBody>
        </p:sp>
        <p:sp>
          <p:nvSpPr>
            <p:cNvPr id="24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  <a:latin typeface="Open Sans" panose="020B0606030504020204" pitchFamily="34" charset="0"/>
              </a:endParaRPr>
            </a:p>
          </p:txBody>
        </p:sp>
        <p:sp>
          <p:nvSpPr>
            <p:cNvPr id="25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  <a:latin typeface="Open Sans" panose="020B0606030504020204" pitchFamily="34" charset="0"/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  <a:latin typeface="Open Sans" panose="020B0606030504020204" pitchFamily="34" charset="0"/>
              </a:endParaRPr>
            </a:p>
          </p:txBody>
        </p:sp>
        <p:sp>
          <p:nvSpPr>
            <p:cNvPr id="27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  <a:latin typeface="Open Sans" panose="020B0606030504020204" pitchFamily="34" charset="0"/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  <a:latin typeface="Open Sans" panose="020B0606030504020204" pitchFamily="34" charset="0"/>
              </a:endParaRPr>
            </a:p>
          </p:txBody>
        </p:sp>
        <p:sp>
          <p:nvSpPr>
            <p:cNvPr id="29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  <a:latin typeface="Open Sans" panose="020B0606030504020204" pitchFamily="34" charset="0"/>
              </a:endParaRPr>
            </a:p>
          </p:txBody>
        </p:sp>
        <p:sp>
          <p:nvSpPr>
            <p:cNvPr id="30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  <a:latin typeface="Open Sans" panose="020B0606030504020204" pitchFamily="34" charset="0"/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  <a:latin typeface="Open Sans" panose="020B0606030504020204" pitchFamily="34" charset="0"/>
              </a:endParaRPr>
            </a:p>
          </p:txBody>
        </p:sp>
        <p:sp>
          <p:nvSpPr>
            <p:cNvPr id="32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  <a:latin typeface="Open Sans" panose="020B0606030504020204" pitchFamily="34" charset="0"/>
              </a:endParaRPr>
            </a:p>
          </p:txBody>
        </p:sp>
      </p:grp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10BE15B7-7990-4EEB-B8BA-46FB46E1704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057884" y="219411"/>
            <a:ext cx="1635171" cy="237789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Insert Breadcrumbs</a:t>
            </a:r>
          </a:p>
        </p:txBody>
      </p:sp>
    </p:spTree>
    <p:extLst>
      <p:ext uri="{BB962C8B-B14F-4D97-AF65-F5344CB8AC3E}">
        <p14:creationId xmlns:p14="http://schemas.microsoft.com/office/powerpoint/2010/main" val="33178880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1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BA71B9E3-4193-4225-82C0-84FC8FD4311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057884" y="219411"/>
            <a:ext cx="1635171" cy="237789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Insert Breadcrumbs</a:t>
            </a:r>
          </a:p>
        </p:txBody>
      </p:sp>
    </p:spTree>
    <p:extLst>
      <p:ext uri="{BB962C8B-B14F-4D97-AF65-F5344CB8AC3E}">
        <p14:creationId xmlns:p14="http://schemas.microsoft.com/office/powerpoint/2010/main" val="77225852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  <a:latin typeface="Open Sans" panose="020B0606030504020204" pitchFamily="34" charset="0"/>
              </a:rPr>
              <a:t>Presentation title</a:t>
            </a:r>
            <a:br>
              <a:rPr lang="en-US" sz="650" noProof="0">
                <a:solidFill>
                  <a:schemeClr val="bg1"/>
                </a:solidFill>
                <a:latin typeface="Open Sans" panose="020B0606030504020204" pitchFamily="34" charset="0"/>
              </a:rPr>
            </a:br>
            <a:r>
              <a:rPr lang="en-US" sz="650" noProof="0">
                <a:solidFill>
                  <a:schemeClr val="bg1"/>
                </a:solidFill>
                <a:latin typeface="Open Sans" panose="020B0606030504020204" pitchFamily="34" charset="0"/>
              </a:rPr>
              <a:t>[To edit, click View &gt; Slide Master &gt; Slide Master]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  <a:latin typeface="Open Sans" panose="020B0606030504020204" pitchFamily="34" charset="0"/>
              </a:rPr>
              <a:t>Member firms and DTTL: Insert appropriate copyright</a:t>
            </a:r>
            <a:br>
              <a:rPr lang="en-US" sz="650" noProof="0">
                <a:solidFill>
                  <a:schemeClr val="bg1"/>
                </a:solidFill>
                <a:latin typeface="Open Sans" panose="020B0606030504020204" pitchFamily="34" charset="0"/>
              </a:rPr>
            </a:br>
            <a:r>
              <a:rPr lang="en-US" sz="650" noProof="0">
                <a:solidFill>
                  <a:schemeClr val="bg1"/>
                </a:solidFill>
                <a:latin typeface="Open Sans" panose="020B0606030504020204" pitchFamily="34" charset="0"/>
              </a:rPr>
              <a:t>[To edit, click View &gt; Slide Master &gt; Slide Master]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  <a:latin typeface="Open Sans" panose="020B0606030504020204" pitchFamily="34" charset="0"/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  <a:latin typeface="Open Sans" panose="020B0606030504020204" pitchFamily="34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DBADD3A8-F51A-4725-A7AD-3BAD4136A83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057884" y="219411"/>
            <a:ext cx="1635171" cy="237789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Insert Breadcrumbs</a:t>
            </a:r>
          </a:p>
        </p:txBody>
      </p:sp>
    </p:spTree>
    <p:extLst>
      <p:ext uri="{BB962C8B-B14F-4D97-AF65-F5344CB8AC3E}">
        <p14:creationId xmlns:p14="http://schemas.microsoft.com/office/powerpoint/2010/main" val="3280671420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  <a:latin typeface="Open Sans" panose="020B0606030504020204" pitchFamily="34" charset="0"/>
              </a:rPr>
              <a:t>Presentation title</a:t>
            </a:r>
            <a:br>
              <a:rPr lang="en-US" sz="650" noProof="0">
                <a:solidFill>
                  <a:schemeClr val="bg1"/>
                </a:solidFill>
                <a:latin typeface="Open Sans" panose="020B0606030504020204" pitchFamily="34" charset="0"/>
              </a:rPr>
            </a:br>
            <a:r>
              <a:rPr lang="en-US" sz="650" noProof="0">
                <a:solidFill>
                  <a:schemeClr val="bg1"/>
                </a:solidFill>
                <a:latin typeface="Open Sans" panose="020B0606030504020204" pitchFamily="34" charset="0"/>
              </a:rPr>
              <a:t>[To edit, click View &gt; Slide Master &gt; Slide Master]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  <a:latin typeface="Open Sans" panose="020B0606030504020204" pitchFamily="34" charset="0"/>
              </a:rPr>
              <a:t>Member firms and DTTL: Insert appropriate copyright</a:t>
            </a:r>
            <a:br>
              <a:rPr lang="en-US" sz="650" noProof="0">
                <a:solidFill>
                  <a:schemeClr val="bg1"/>
                </a:solidFill>
                <a:latin typeface="Open Sans" panose="020B0606030504020204" pitchFamily="34" charset="0"/>
              </a:rPr>
            </a:br>
            <a:r>
              <a:rPr lang="en-US" sz="650" noProof="0">
                <a:solidFill>
                  <a:schemeClr val="bg1"/>
                </a:solidFill>
                <a:latin typeface="Open Sans" panose="020B0606030504020204" pitchFamily="34" charset="0"/>
              </a:rPr>
              <a:t>[To edit, click View &gt; Slide Master &gt; Slide Master]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  <a:latin typeface="Open Sans" panose="020B0606030504020204" pitchFamily="34" charset="0"/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  <a:latin typeface="Open Sans" panose="020B0606030504020204" pitchFamily="34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51DFDACF-5135-410C-A281-9585C4ED120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057884" y="219411"/>
            <a:ext cx="1635171" cy="237789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Insert Breadcrumbs</a:t>
            </a:r>
          </a:p>
        </p:txBody>
      </p:sp>
    </p:spTree>
    <p:extLst>
      <p:ext uri="{BB962C8B-B14F-4D97-AF65-F5344CB8AC3E}">
        <p14:creationId xmlns:p14="http://schemas.microsoft.com/office/powerpoint/2010/main" val="293871229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  <a:latin typeface="Open Sans" panose="020B0606030504020204" pitchFamily="34" charset="0"/>
              </a:rPr>
              <a:t>Presentation title</a:t>
            </a:r>
            <a:br>
              <a:rPr lang="en-US" sz="650" noProof="0">
                <a:solidFill>
                  <a:schemeClr val="bg1"/>
                </a:solidFill>
                <a:latin typeface="Open Sans" panose="020B0606030504020204" pitchFamily="34" charset="0"/>
              </a:rPr>
            </a:br>
            <a:r>
              <a:rPr lang="en-US" sz="650" noProof="0">
                <a:solidFill>
                  <a:schemeClr val="bg1"/>
                </a:solidFill>
                <a:latin typeface="Open Sans" panose="020B0606030504020204" pitchFamily="34" charset="0"/>
              </a:rPr>
              <a:t>[To edit, click View &gt; Slide Master &gt; Slide Master]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  <a:latin typeface="Open Sans" panose="020B0606030504020204" pitchFamily="34" charset="0"/>
              </a:rPr>
              <a:t>Member firms and DTTL: Insert appropriate copyright</a:t>
            </a:r>
            <a:br>
              <a:rPr lang="en-US" sz="650" noProof="0">
                <a:solidFill>
                  <a:schemeClr val="bg1"/>
                </a:solidFill>
                <a:latin typeface="Open Sans" panose="020B0606030504020204" pitchFamily="34" charset="0"/>
              </a:rPr>
            </a:br>
            <a:r>
              <a:rPr lang="en-US" sz="650" noProof="0">
                <a:solidFill>
                  <a:schemeClr val="bg1"/>
                </a:solidFill>
                <a:latin typeface="Open Sans" panose="020B0606030504020204" pitchFamily="34" charset="0"/>
              </a:rPr>
              <a:t>[To edit, click View &gt; Slide Master &gt; Slide Master]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  <a:latin typeface="Open Sans" panose="020B0606030504020204" pitchFamily="34" charset="0"/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  <a:latin typeface="Open Sans" panose="020B0606030504020204" pitchFamily="34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5CF15AB8-856D-4D30-9DE3-4AA69EAACAD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057884" y="219411"/>
            <a:ext cx="1635171" cy="237789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Insert Breadcrumbs</a:t>
            </a:r>
          </a:p>
        </p:txBody>
      </p:sp>
    </p:spTree>
    <p:extLst>
      <p:ext uri="{BB962C8B-B14F-4D97-AF65-F5344CB8AC3E}">
        <p14:creationId xmlns:p14="http://schemas.microsoft.com/office/powerpoint/2010/main" val="2661073168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  <a:latin typeface="Open Sans" panose="020B0606030504020204" pitchFamily="34" charset="0"/>
              </a:rPr>
              <a:t>Presentation title</a:t>
            </a:r>
            <a:br>
              <a:rPr lang="en-US" sz="650" noProof="0">
                <a:solidFill>
                  <a:schemeClr val="bg1"/>
                </a:solidFill>
                <a:latin typeface="Open Sans" panose="020B0606030504020204" pitchFamily="34" charset="0"/>
              </a:rPr>
            </a:br>
            <a:r>
              <a:rPr lang="en-US" sz="650" noProof="0">
                <a:solidFill>
                  <a:schemeClr val="bg1"/>
                </a:solidFill>
                <a:latin typeface="Open Sans" panose="020B0606030504020204" pitchFamily="34" charset="0"/>
              </a:rPr>
              <a:t>[To edit, click View &gt; Slide Master &gt; Slide Master]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  <a:latin typeface="Open Sans" panose="020B0606030504020204" pitchFamily="34" charset="0"/>
              </a:rPr>
              <a:t>Member firms and DTTL: Insert appropriate copyright</a:t>
            </a:r>
            <a:br>
              <a:rPr lang="en-US" sz="650" noProof="0">
                <a:solidFill>
                  <a:schemeClr val="bg1"/>
                </a:solidFill>
                <a:latin typeface="Open Sans" panose="020B0606030504020204" pitchFamily="34" charset="0"/>
              </a:rPr>
            </a:br>
            <a:r>
              <a:rPr lang="en-US" sz="650" noProof="0">
                <a:solidFill>
                  <a:schemeClr val="bg1"/>
                </a:solidFill>
                <a:latin typeface="Open Sans" panose="020B0606030504020204" pitchFamily="34" charset="0"/>
              </a:rPr>
              <a:t>[To edit, click View &gt; Slide Master &gt; Slide Master]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  <a:latin typeface="Open Sans" panose="020B0606030504020204" pitchFamily="34" charset="0"/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  <a:latin typeface="Open Sans" panose="020B0606030504020204" pitchFamily="34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1BBD3485-11BA-439B-9FFD-E50E19B22B2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057884" y="219411"/>
            <a:ext cx="1635171" cy="237789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Insert Breadcrumbs</a:t>
            </a:r>
          </a:p>
        </p:txBody>
      </p:sp>
    </p:spTree>
    <p:extLst>
      <p:ext uri="{BB962C8B-B14F-4D97-AF65-F5344CB8AC3E}">
        <p14:creationId xmlns:p14="http://schemas.microsoft.com/office/powerpoint/2010/main" val="544853625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9900" y="1590675"/>
            <a:ext cx="9029604" cy="47085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4800"/>
              </a:spcBef>
              <a:defRPr sz="2800">
                <a:solidFill>
                  <a:schemeClr val="tx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0C9FE5A4-CE1A-4BD8-8724-7F2F6BDE2B3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057884" y="219411"/>
            <a:ext cx="1635171" cy="237789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Insert Breadcrumbs</a:t>
            </a:r>
          </a:p>
        </p:txBody>
      </p:sp>
    </p:spTree>
    <p:extLst>
      <p:ext uri="{BB962C8B-B14F-4D97-AF65-F5344CB8AC3E}">
        <p14:creationId xmlns:p14="http://schemas.microsoft.com/office/powerpoint/2010/main" val="42438736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1"/>
            <a:ext cx="9348787" cy="4633910"/>
          </a:xfrm>
          <a:prstGeom prst="rect">
            <a:avLst/>
          </a:prstGeom>
        </p:spPr>
        <p:txBody>
          <a:bodyPr/>
          <a:lstStyle>
            <a:lvl1pPr>
              <a:tabLst>
                <a:tab pos="8972326" algn="r"/>
              </a:tabLst>
              <a:defRPr/>
            </a:lvl1pPr>
            <a:lvl2pPr>
              <a:tabLst>
                <a:tab pos="8972326" algn="r"/>
              </a:tabLst>
              <a:defRPr/>
            </a:lvl2pPr>
            <a:lvl3pPr>
              <a:tabLst>
                <a:tab pos="8972326" algn="r"/>
              </a:tabLst>
              <a:defRPr/>
            </a:lvl3pPr>
            <a:lvl4pPr>
              <a:tabLst>
                <a:tab pos="8972326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  <a:lvl6pPr>
              <a:tabLst>
                <a:tab pos="8972326" algn="r"/>
              </a:tabLst>
              <a:defRPr/>
            </a:lvl6pPr>
            <a:lvl7pPr>
              <a:tabLst>
                <a:tab pos="8972326" algn="r"/>
              </a:tabLst>
              <a:defRPr/>
            </a:lvl7pPr>
            <a:lvl8pPr>
              <a:tabLst>
                <a:tab pos="8972326" algn="r"/>
              </a:tabLst>
              <a:defRPr/>
            </a:lvl8pPr>
            <a:lvl9pPr>
              <a:tabLst>
                <a:tab pos="8972326" algn="r"/>
              </a:tabLs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91B5CF9B-FEF5-4DA9-B5CF-14D552EA90D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057884" y="219411"/>
            <a:ext cx="1635171" cy="237789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Insert Breadcrumbs</a:t>
            </a:r>
          </a:p>
        </p:txBody>
      </p:sp>
    </p:spTree>
    <p:extLst>
      <p:ext uri="{BB962C8B-B14F-4D97-AF65-F5344CB8AC3E}">
        <p14:creationId xmlns:p14="http://schemas.microsoft.com/office/powerpoint/2010/main" val="1761295995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604867" y="1700213"/>
            <a:ext cx="6117233" cy="4598988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0"/>
            <a:ext cx="4333663" cy="4633911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9636E192-746B-4558-84C1-5315395E234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057884" y="219411"/>
            <a:ext cx="1635171" cy="237789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Insert Breadcrumbs</a:t>
            </a:r>
          </a:p>
        </p:txBody>
      </p:sp>
    </p:spTree>
    <p:extLst>
      <p:ext uri="{BB962C8B-B14F-4D97-AF65-F5344CB8AC3E}">
        <p14:creationId xmlns:p14="http://schemas.microsoft.com/office/powerpoint/2010/main" val="832750723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5AE3A46E-4731-479C-906E-1E3AAA4516C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057884" y="219411"/>
            <a:ext cx="1635171" cy="237789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Insert Breadcrumbs</a:t>
            </a:r>
          </a:p>
        </p:txBody>
      </p:sp>
    </p:spTree>
    <p:extLst>
      <p:ext uri="{BB962C8B-B14F-4D97-AF65-F5344CB8AC3E}">
        <p14:creationId xmlns:p14="http://schemas.microsoft.com/office/powerpoint/2010/main" val="2073722696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65818"/>
            <a:ext cx="11252200" cy="463338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58E8D34E-BBC7-49C6-8F14-E0480A6D740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057884" y="219411"/>
            <a:ext cx="1635171" cy="237789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Insert Breadcrumbs</a:t>
            </a:r>
          </a:p>
        </p:txBody>
      </p:sp>
    </p:spTree>
    <p:extLst>
      <p:ext uri="{BB962C8B-B14F-4D97-AF65-F5344CB8AC3E}">
        <p14:creationId xmlns:p14="http://schemas.microsoft.com/office/powerpoint/2010/main" val="1051320614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75325" y="5530390"/>
            <a:ext cx="5594349" cy="324000"/>
          </a:xfr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1800" b="1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19" name="Group 18"/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0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  <a:latin typeface="Open Sans" panose="020B0606030504020204" pitchFamily="34" charset="0"/>
              </a:endParaRPr>
            </a:p>
          </p:txBody>
        </p:sp>
        <p:sp>
          <p:nvSpPr>
            <p:cNvPr id="21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  <a:latin typeface="Open Sans" panose="020B0606030504020204" pitchFamily="34" charset="0"/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  <a:latin typeface="Open Sans" panose="020B0606030504020204" pitchFamily="34" charset="0"/>
              </a:endParaRPr>
            </a:p>
          </p:txBody>
        </p:sp>
        <p:sp>
          <p:nvSpPr>
            <p:cNvPr id="23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  <a:latin typeface="Open Sans" panose="020B0606030504020204" pitchFamily="34" charset="0"/>
              </a:endParaRPr>
            </a:p>
          </p:txBody>
        </p:sp>
        <p:sp>
          <p:nvSpPr>
            <p:cNvPr id="24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  <a:latin typeface="Open Sans" panose="020B0606030504020204" pitchFamily="34" charset="0"/>
              </a:endParaRPr>
            </a:p>
          </p:txBody>
        </p:sp>
        <p:sp>
          <p:nvSpPr>
            <p:cNvPr id="25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  <a:latin typeface="Open Sans" panose="020B0606030504020204" pitchFamily="34" charset="0"/>
              </a:endParaRPr>
            </a:p>
          </p:txBody>
        </p:sp>
        <p:sp>
          <p:nvSpPr>
            <p:cNvPr id="26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  <a:latin typeface="Open Sans" panose="020B0606030504020204" pitchFamily="34" charset="0"/>
              </a:endParaRPr>
            </a:p>
          </p:txBody>
        </p:sp>
        <p:sp>
          <p:nvSpPr>
            <p:cNvPr id="27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  <a:latin typeface="Open Sans" panose="020B0606030504020204" pitchFamily="34" charset="0"/>
              </a:endParaRPr>
            </a:p>
          </p:txBody>
        </p:sp>
        <p:sp>
          <p:nvSpPr>
            <p:cNvPr id="28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  <a:latin typeface="Open Sans" panose="020B0606030504020204" pitchFamily="34" charset="0"/>
              </a:endParaRPr>
            </a:p>
          </p:txBody>
        </p:sp>
        <p:sp>
          <p:nvSpPr>
            <p:cNvPr id="29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  <a:latin typeface="Open Sans" panose="020B0606030504020204" pitchFamily="34" charset="0"/>
              </a:endParaRPr>
            </a:p>
          </p:txBody>
        </p:sp>
      </p:grp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631C9681-CD8B-4E98-9C37-771995349DC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057884" y="219411"/>
            <a:ext cx="1635171" cy="237789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Insert Breadcrumbs</a:t>
            </a:r>
          </a:p>
        </p:txBody>
      </p:sp>
    </p:spTree>
    <p:extLst>
      <p:ext uri="{BB962C8B-B14F-4D97-AF65-F5344CB8AC3E}">
        <p14:creationId xmlns:p14="http://schemas.microsoft.com/office/powerpoint/2010/main" val="276522647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76402"/>
            <a:ext cx="11252200" cy="46227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7D65B2A2-F0CB-405F-A752-14166E4C5E8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057884" y="219411"/>
            <a:ext cx="1635171" cy="237789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Insert Breadcrumbs</a:t>
            </a:r>
          </a:p>
        </p:txBody>
      </p:sp>
    </p:spTree>
    <p:extLst>
      <p:ext uri="{BB962C8B-B14F-4D97-AF65-F5344CB8AC3E}">
        <p14:creationId xmlns:p14="http://schemas.microsoft.com/office/powerpoint/2010/main" val="1091904146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36656"/>
            <a:ext cx="11252200" cy="394613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84868"/>
            <a:ext cx="11252200" cy="3571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0" y="5982790"/>
            <a:ext cx="11252201" cy="316411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3C64FBA9-F7C4-4642-BA06-E9EF1EE90A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057884" y="219411"/>
            <a:ext cx="1635171" cy="237789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Insert Breadcrumbs</a:t>
            </a:r>
          </a:p>
        </p:txBody>
      </p:sp>
    </p:spTree>
    <p:extLst>
      <p:ext uri="{BB962C8B-B14F-4D97-AF65-F5344CB8AC3E}">
        <p14:creationId xmlns:p14="http://schemas.microsoft.com/office/powerpoint/2010/main" val="2965356655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65289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296000" y="2051998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296003" y="1665288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08696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086959" y="1659145"/>
            <a:ext cx="3600000" cy="398256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0" y="5982790"/>
            <a:ext cx="11252201" cy="316411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AD40C8C3-8B9D-4199-99FF-39D57DEAE9D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057884" y="219411"/>
            <a:ext cx="1635171" cy="237789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Insert Breadcrumbs</a:t>
            </a:r>
          </a:p>
        </p:txBody>
      </p:sp>
    </p:spTree>
    <p:extLst>
      <p:ext uri="{BB962C8B-B14F-4D97-AF65-F5344CB8AC3E}">
        <p14:creationId xmlns:p14="http://schemas.microsoft.com/office/powerpoint/2010/main" val="3819850968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68000" y="1665288"/>
            <a:ext cx="5328000" cy="4622507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56000"/>
            <a:ext cx="5328000" cy="4631795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96D7058F-2A3B-4AB7-8D92-F04137F2DDF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057884" y="219411"/>
            <a:ext cx="1635171" cy="237789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Insert Breadcrumbs</a:t>
            </a:r>
          </a:p>
        </p:txBody>
      </p:sp>
    </p:spTree>
    <p:extLst>
      <p:ext uri="{BB962C8B-B14F-4D97-AF65-F5344CB8AC3E}">
        <p14:creationId xmlns:p14="http://schemas.microsoft.com/office/powerpoint/2010/main" val="127745000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A6903785-891C-4C8D-A3E3-311E932298C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057884" y="219411"/>
            <a:ext cx="1635171" cy="237789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Insert Breadcrumbs</a:t>
            </a:r>
          </a:p>
        </p:txBody>
      </p:sp>
    </p:spTree>
    <p:extLst>
      <p:ext uri="{BB962C8B-B14F-4D97-AF65-F5344CB8AC3E}">
        <p14:creationId xmlns:p14="http://schemas.microsoft.com/office/powerpoint/2010/main" val="2073062384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480400" cy="431750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4" y="1655763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0" y="5982790"/>
            <a:ext cx="1125220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1911796-8B81-4618-9053-CDA211C6CA0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057884" y="219411"/>
            <a:ext cx="1635171" cy="237789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Insert Breadcrumbs</a:t>
            </a:r>
          </a:p>
        </p:txBody>
      </p:sp>
    </p:spTree>
    <p:extLst>
      <p:ext uri="{BB962C8B-B14F-4D97-AF65-F5344CB8AC3E}">
        <p14:creationId xmlns:p14="http://schemas.microsoft.com/office/powerpoint/2010/main" val="3417910331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5" y="1654028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9900" y="2125013"/>
            <a:ext cx="5482517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9898" y="1665288"/>
            <a:ext cx="5482517" cy="40942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0" y="5982790"/>
            <a:ext cx="1125220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FF247098-75F3-4919-9FD1-5B34A01A4ED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057884" y="219411"/>
            <a:ext cx="1635171" cy="237789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Insert Breadcrumbs</a:t>
            </a:r>
          </a:p>
        </p:txBody>
      </p:sp>
    </p:spTree>
    <p:extLst>
      <p:ext uri="{BB962C8B-B14F-4D97-AF65-F5344CB8AC3E}">
        <p14:creationId xmlns:p14="http://schemas.microsoft.com/office/powerpoint/2010/main" val="1426923008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9"/>
            <a:ext cx="4431857" cy="4633913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82100" y="1700213"/>
            <a:ext cx="6240000" cy="4598989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C5C6F402-4F0E-43BF-9038-0AA01AF371C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057884" y="219411"/>
            <a:ext cx="1635171" cy="237789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Insert Breadcrumbs</a:t>
            </a:r>
          </a:p>
        </p:txBody>
      </p:sp>
    </p:spTree>
    <p:extLst>
      <p:ext uri="{BB962C8B-B14F-4D97-AF65-F5344CB8AC3E}">
        <p14:creationId xmlns:p14="http://schemas.microsoft.com/office/powerpoint/2010/main" val="918402237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455116" y="1626099"/>
            <a:ext cx="4266983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69900" y="1665288"/>
            <a:ext cx="6660866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99236A7-2C6E-4460-9A3D-E3AD6C1FE09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057884" y="219411"/>
            <a:ext cx="1635171" cy="237789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Insert Breadcrumbs</a:t>
            </a:r>
          </a:p>
        </p:txBody>
      </p:sp>
    </p:spTree>
    <p:extLst>
      <p:ext uri="{BB962C8B-B14F-4D97-AF65-F5344CB8AC3E}">
        <p14:creationId xmlns:p14="http://schemas.microsoft.com/office/powerpoint/2010/main" val="2270298840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88742" y="1700213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41040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93338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9045636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82363" y="3076573"/>
            <a:ext cx="264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235194" indent="-235194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0"/>
              </a:spcAft>
              <a:defRPr baseline="0"/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207211" y="3079742"/>
            <a:ext cx="264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235194" indent="-235194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0"/>
              </a:spcAft>
              <a:defRPr baseline="0"/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44787" y="3076573"/>
            <a:ext cx="264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235194" indent="-235194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0"/>
              </a:spcAft>
              <a:defRPr baseline="0"/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9069636" y="3079742"/>
            <a:ext cx="264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235194" indent="-235194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0"/>
              </a:spcAft>
              <a:defRPr baseline="0"/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8171AEE2-B1A7-45D1-8AAE-EA32956B261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057884" y="219411"/>
            <a:ext cx="1635171" cy="237789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Insert Breadcrumbs</a:t>
            </a:r>
          </a:p>
        </p:txBody>
      </p:sp>
    </p:spTree>
    <p:extLst>
      <p:ext uri="{BB962C8B-B14F-4D97-AF65-F5344CB8AC3E}">
        <p14:creationId xmlns:p14="http://schemas.microsoft.com/office/powerpoint/2010/main" val="2086964544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0150" y="153045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  <a:latin typeface="Open Sans" panose="020B0606030504020204" pitchFamily="34" charset="0"/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  <a:latin typeface="Open Sans" panose="020B0606030504020204" pitchFamily="34" charset="0"/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  <a:latin typeface="Open Sans" panose="020B0606030504020204" pitchFamily="34" charset="0"/>
              </a:endParaRPr>
            </a:p>
          </p:txBody>
        </p:sp>
        <p:sp>
          <p:nvSpPr>
            <p:cNvPr id="20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  <a:latin typeface="Open Sans" panose="020B0606030504020204" pitchFamily="34" charset="0"/>
              </a:endParaRPr>
            </a:p>
          </p:txBody>
        </p:sp>
        <p:sp>
          <p:nvSpPr>
            <p:cNvPr id="21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  <a:latin typeface="Open Sans" panose="020B0606030504020204" pitchFamily="34" charset="0"/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  <a:latin typeface="Open Sans" panose="020B0606030504020204" pitchFamily="34" charset="0"/>
              </a:endParaRPr>
            </a:p>
          </p:txBody>
        </p:sp>
        <p:sp>
          <p:nvSpPr>
            <p:cNvPr id="34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  <a:latin typeface="Open Sans" panose="020B0606030504020204" pitchFamily="34" charset="0"/>
              </a:endParaRPr>
            </a:p>
          </p:txBody>
        </p:sp>
        <p:sp>
          <p:nvSpPr>
            <p:cNvPr id="35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  <a:latin typeface="Open Sans" panose="020B0606030504020204" pitchFamily="34" charset="0"/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  <a:latin typeface="Open Sans" panose="020B0606030504020204" pitchFamily="34" charset="0"/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  <a:latin typeface="Open Sans" panose="020B0606030504020204" pitchFamily="34" charset="0"/>
              </a:endParaRPr>
            </a:p>
          </p:txBody>
        </p:sp>
      </p:grp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387CC0B0-4E25-4849-AF87-00638C6AD1B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057884" y="219411"/>
            <a:ext cx="1635171" cy="237789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Insert Breadcrumbs</a:t>
            </a:r>
          </a:p>
        </p:txBody>
      </p:sp>
    </p:spTree>
    <p:extLst>
      <p:ext uri="{BB962C8B-B14F-4D97-AF65-F5344CB8AC3E}">
        <p14:creationId xmlns:p14="http://schemas.microsoft.com/office/powerpoint/2010/main" val="765750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47678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  <a:latin typeface="Open Sans" panose="020B0606030504020204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18490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  <a:latin typeface="Open Sans" panose="020B0606030504020204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  <a:latin typeface="Open Sans" panose="020B0606030504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  <a:latin typeface="Open Sans" panose="020B0606030504020204" pitchFamily="34" charset="0"/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76780" y="1880213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04097" y="1880212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481779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04097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840780" y="1880213"/>
            <a:ext cx="31728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550676" y="1880213"/>
            <a:ext cx="3171024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802551" y="4256213"/>
            <a:ext cx="31728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548900" y="4256212"/>
            <a:ext cx="31728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62646B90-49DD-4D87-8F60-DFE5FAB7F52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057884" y="219411"/>
            <a:ext cx="1635171" cy="237789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Insert Breadcrumbs</a:t>
            </a:r>
          </a:p>
        </p:txBody>
      </p:sp>
    </p:spTree>
    <p:extLst>
      <p:ext uri="{BB962C8B-B14F-4D97-AF65-F5344CB8AC3E}">
        <p14:creationId xmlns:p14="http://schemas.microsoft.com/office/powerpoint/2010/main" val="192629485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69900" y="1700213"/>
            <a:ext cx="3627438" cy="2052830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82784" y="1700213"/>
            <a:ext cx="3639316" cy="2059099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84188" y="1700212"/>
            <a:ext cx="3636962" cy="2057767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469900" y="3832225"/>
            <a:ext cx="3627438" cy="218144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78313" y="3832224"/>
            <a:ext cx="3636962" cy="21866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82784" y="3832224"/>
            <a:ext cx="3639316" cy="21881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02752804-C206-48DD-B8A1-A43991FD30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057884" y="219411"/>
            <a:ext cx="1635171" cy="237789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Insert Breadcrumbs</a:t>
            </a:r>
          </a:p>
        </p:txBody>
      </p:sp>
    </p:spTree>
    <p:extLst>
      <p:ext uri="{BB962C8B-B14F-4D97-AF65-F5344CB8AC3E}">
        <p14:creationId xmlns:p14="http://schemas.microsoft.com/office/powerpoint/2010/main" val="2213036351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AE615812-9CC0-4D2B-8DF7-7F0621454DB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057884" y="219411"/>
            <a:ext cx="1635171" cy="237789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Insert Breadcrumbs</a:t>
            </a:r>
          </a:p>
        </p:txBody>
      </p:sp>
    </p:spTree>
    <p:extLst>
      <p:ext uri="{BB962C8B-B14F-4D97-AF65-F5344CB8AC3E}">
        <p14:creationId xmlns:p14="http://schemas.microsoft.com/office/powerpoint/2010/main" val="3151748229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/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/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Rectangle 16"/>
          <p:cNvSpPr/>
          <p:nvPr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  <a:latin typeface="Open Sans" panose="020B0606030504020204" pitchFamily="34" charset="0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  <a:latin typeface="Open Sans" panose="020B0606030504020204" pitchFamily="34" charset="0"/>
            </a:endParaRPr>
          </a:p>
        </p:txBody>
      </p:sp>
      <p:sp>
        <p:nvSpPr>
          <p:cNvPr id="19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20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3B2F88DB-5C40-4F14-9CD9-7DBFF5F2299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057884" y="219411"/>
            <a:ext cx="1635171" cy="237789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Insert Breadcrumbs</a:t>
            </a:r>
          </a:p>
        </p:txBody>
      </p:sp>
    </p:spTree>
    <p:extLst>
      <p:ext uri="{BB962C8B-B14F-4D97-AF65-F5344CB8AC3E}">
        <p14:creationId xmlns:p14="http://schemas.microsoft.com/office/powerpoint/2010/main" val="834515877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4278313" y="1705968"/>
            <a:ext cx="363696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  <a:latin typeface="Open Sans" panose="020B0606030504020204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69900" y="1705968"/>
            <a:ext cx="362743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  <a:latin typeface="Open Sans" panose="020B0606030504020204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8104176" y="1705968"/>
            <a:ext cx="3629025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  <a:latin typeface="Open Sans" panose="020B0606030504020204" pitchFamily="34" charset="0"/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278313" y="1851441"/>
            <a:ext cx="3636962" cy="3845755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9900" y="1851441"/>
            <a:ext cx="3627438" cy="3845755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093075" y="1851441"/>
            <a:ext cx="3629025" cy="3845755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2EF56F11-A6CB-4341-9C5E-DE326B8DB2B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057884" y="219411"/>
            <a:ext cx="1635171" cy="237789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Insert Breadcrumbs</a:t>
            </a:r>
          </a:p>
        </p:txBody>
      </p:sp>
    </p:spTree>
    <p:extLst>
      <p:ext uri="{BB962C8B-B14F-4D97-AF65-F5344CB8AC3E}">
        <p14:creationId xmlns:p14="http://schemas.microsoft.com/office/powerpoint/2010/main" val="2210054927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0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3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6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60D19E0-9D61-4F84-8137-342CDD3A2C8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057884" y="219411"/>
            <a:ext cx="1635171" cy="237789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Insert Breadcrumbs</a:t>
            </a:r>
          </a:p>
        </p:txBody>
      </p:sp>
    </p:spTree>
    <p:extLst>
      <p:ext uri="{BB962C8B-B14F-4D97-AF65-F5344CB8AC3E}">
        <p14:creationId xmlns:p14="http://schemas.microsoft.com/office/powerpoint/2010/main" val="2371617330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3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333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333"/>
              </a:spcAft>
              <a:buNone/>
              <a:defRPr>
                <a:solidFill>
                  <a:schemeClr val="bg1"/>
                </a:solidFill>
              </a:defRPr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475188" indent="-235194">
              <a:spcAft>
                <a:spcPts val="1333"/>
              </a:spcAft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333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333"/>
              </a:spcAft>
              <a:buNone/>
              <a:defRPr>
                <a:solidFill>
                  <a:schemeClr val="bg1"/>
                </a:solidFill>
              </a:defRPr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475188" indent="-235194">
              <a:spcAft>
                <a:spcPts val="1333"/>
              </a:spcAft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5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333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333"/>
              </a:spcAft>
              <a:buNone/>
              <a:defRPr>
                <a:solidFill>
                  <a:schemeClr val="bg1"/>
                </a:solidFill>
              </a:defRPr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475188" indent="-235194">
              <a:spcAft>
                <a:spcPts val="1333"/>
              </a:spcAft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7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333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333"/>
              </a:spcAft>
              <a:buNone/>
              <a:defRPr>
                <a:solidFill>
                  <a:schemeClr val="bg1"/>
                </a:solidFill>
              </a:defRPr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475188" indent="-235194">
              <a:spcAft>
                <a:spcPts val="1333"/>
              </a:spcAft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6335184" y="6477001"/>
            <a:ext cx="4896560" cy="2668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867" noProof="0">
                <a:solidFill>
                  <a:schemeClr val="bg1"/>
                </a:solidFill>
                <a:latin typeface="Open Sans" panose="020B0606030504020204" pitchFamily="34" charset="0"/>
              </a:rPr>
              <a:t>Presentation title</a:t>
            </a:r>
            <a:br>
              <a:rPr lang="en-US" sz="867" noProof="0">
                <a:solidFill>
                  <a:schemeClr val="bg1"/>
                </a:solidFill>
                <a:latin typeface="Open Sans" panose="020B0606030504020204" pitchFamily="34" charset="0"/>
              </a:rPr>
            </a:br>
            <a:r>
              <a:rPr lang="en-US" sz="867" noProof="0">
                <a:solidFill>
                  <a:schemeClr val="bg1"/>
                </a:solidFill>
                <a:latin typeface="Open Sans" panose="020B0606030504020204" pitchFamily="34" charset="0"/>
              </a:rPr>
              <a:t>[To edit, click View &gt; Slide Master &gt; Slide Master]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01653" y="6477000"/>
            <a:ext cx="5355167" cy="2668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867" noProof="0">
                <a:solidFill>
                  <a:schemeClr val="bg1"/>
                </a:solidFill>
                <a:latin typeface="Open Sans" panose="020B0606030504020204" pitchFamily="34" charset="0"/>
              </a:rPr>
              <a:t>Member firms and DTTL: Insert appropriate copyright</a:t>
            </a:r>
            <a:br>
              <a:rPr lang="en-US" sz="867" noProof="0">
                <a:solidFill>
                  <a:schemeClr val="bg1"/>
                </a:solidFill>
                <a:latin typeface="Open Sans" panose="020B0606030504020204" pitchFamily="34" charset="0"/>
              </a:rPr>
            </a:br>
            <a:r>
              <a:rPr lang="en-US" sz="867" noProof="0">
                <a:solidFill>
                  <a:schemeClr val="bg1"/>
                </a:solidFill>
                <a:latin typeface="Open Sans" panose="020B0606030504020204" pitchFamily="34" charset="0"/>
              </a:rPr>
              <a:t>[To edit, click View &gt; Slide Master &gt; Slide Master]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1382378" y="6477001"/>
            <a:ext cx="307975" cy="13343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867" noProof="0" smtClean="0">
                <a:solidFill>
                  <a:schemeClr val="bg1"/>
                </a:solidFill>
                <a:latin typeface="Open Sans" panose="020B0606030504020204" pitchFamily="34" charset="0"/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867" noProof="0">
              <a:solidFill>
                <a:schemeClr val="bg1"/>
              </a:solidFill>
              <a:latin typeface="Open Sans" panose="020B0606030504020204" pitchFamily="34" charset="0"/>
            </a:endParaRP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D16DCC85-7ED3-4B64-95CA-B64B5646B99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057884" y="219411"/>
            <a:ext cx="1635171" cy="237789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Insert Breadcrumbs</a:t>
            </a:r>
          </a:p>
        </p:txBody>
      </p:sp>
    </p:spTree>
    <p:extLst>
      <p:ext uri="{BB962C8B-B14F-4D97-AF65-F5344CB8AC3E}">
        <p14:creationId xmlns:p14="http://schemas.microsoft.com/office/powerpoint/2010/main" val="620738828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467783" y="1665817"/>
            <a:ext cx="5537730" cy="463338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8349677A-6C3A-4E27-A554-DA774759A9B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057884" y="219411"/>
            <a:ext cx="1635171" cy="237789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Insert Breadcrumbs</a:t>
            </a:r>
          </a:p>
        </p:txBody>
      </p:sp>
    </p:spTree>
    <p:extLst>
      <p:ext uri="{BB962C8B-B14F-4D97-AF65-F5344CB8AC3E}">
        <p14:creationId xmlns:p14="http://schemas.microsoft.com/office/powerpoint/2010/main" val="2508044341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284CF59A-7F25-4786-B4C2-D3D1D61CE5F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057884" y="219411"/>
            <a:ext cx="1635171" cy="237789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Insert Breadcrumbs</a:t>
            </a:r>
          </a:p>
        </p:txBody>
      </p:sp>
    </p:spTree>
    <p:extLst>
      <p:ext uri="{BB962C8B-B14F-4D97-AF65-F5344CB8AC3E}">
        <p14:creationId xmlns:p14="http://schemas.microsoft.com/office/powerpoint/2010/main" val="3011782772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DD8B63AE-6601-4607-B0CC-09F39914A72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057884" y="219411"/>
            <a:ext cx="1635171" cy="237789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Insert Breadcrumbs</a:t>
            </a:r>
          </a:p>
        </p:txBody>
      </p:sp>
    </p:spTree>
    <p:extLst>
      <p:ext uri="{BB962C8B-B14F-4D97-AF65-F5344CB8AC3E}">
        <p14:creationId xmlns:p14="http://schemas.microsoft.com/office/powerpoint/2010/main" val="1303287435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2000" y="153000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  <a:latin typeface="Open Sans" panose="020B0606030504020204" pitchFamily="34" charset="0"/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  <a:latin typeface="Open Sans" panose="020B0606030504020204" pitchFamily="34" charset="0"/>
              </a:endParaRPr>
            </a:p>
          </p:txBody>
        </p:sp>
        <p:sp>
          <p:nvSpPr>
            <p:cNvPr id="30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  <a:latin typeface="Open Sans" panose="020B0606030504020204" pitchFamily="34" charset="0"/>
              </a:endParaRPr>
            </a:p>
          </p:txBody>
        </p:sp>
        <p:sp>
          <p:nvSpPr>
            <p:cNvPr id="31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  <a:latin typeface="Open Sans" panose="020B0606030504020204" pitchFamily="34" charset="0"/>
              </a:endParaRPr>
            </a:p>
          </p:txBody>
        </p:sp>
        <p:sp>
          <p:nvSpPr>
            <p:cNvPr id="32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  <a:latin typeface="Open Sans" panose="020B0606030504020204" pitchFamily="34" charset="0"/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  <a:latin typeface="Open Sans" panose="020B0606030504020204" pitchFamily="34" charset="0"/>
              </a:endParaRPr>
            </a:p>
          </p:txBody>
        </p:sp>
        <p:sp>
          <p:nvSpPr>
            <p:cNvPr id="34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  <a:latin typeface="Open Sans" panose="020B0606030504020204" pitchFamily="34" charset="0"/>
              </a:endParaRPr>
            </a:p>
          </p:txBody>
        </p:sp>
        <p:sp>
          <p:nvSpPr>
            <p:cNvPr id="35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  <a:latin typeface="Open Sans" panose="020B0606030504020204" pitchFamily="34" charset="0"/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  <a:latin typeface="Open Sans" panose="020B0606030504020204" pitchFamily="34" charset="0"/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  <a:latin typeface="Open Sans" panose="020B0606030504020204" pitchFamily="34" charset="0"/>
              </a:endParaRPr>
            </a:p>
          </p:txBody>
        </p:sp>
      </p:grp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D3D163FD-FC8C-4596-9CBA-B9D9926A1F6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057884" y="219411"/>
            <a:ext cx="1635171" cy="237789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Insert Breadcrumbs</a:t>
            </a:r>
          </a:p>
        </p:txBody>
      </p:sp>
    </p:spTree>
    <p:extLst>
      <p:ext uri="{BB962C8B-B14F-4D97-AF65-F5344CB8AC3E}">
        <p14:creationId xmlns:p14="http://schemas.microsoft.com/office/powerpoint/2010/main" val="272514294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75325" y="4102100"/>
            <a:ext cx="8555263" cy="2197101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Aft>
                <a:spcPts val="80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402597" y="4102100"/>
            <a:ext cx="2319503" cy="1725448"/>
          </a:xfrm>
        </p:spPr>
        <p:txBody>
          <a:bodyPr anchor="ctr" anchorCtr="0"/>
          <a:lstStyle>
            <a:lvl1pPr algn="ctr">
              <a:defRPr sz="1200"/>
            </a:lvl1pPr>
          </a:lstStyle>
          <a:p>
            <a:r>
              <a:rPr lang="en-US" sz="1200" noProof="0"/>
              <a:t>Insert sponsorship mark here</a:t>
            </a:r>
            <a:endParaRPr lang="en-US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402598" y="5935479"/>
            <a:ext cx="2319501" cy="363723"/>
          </a:xfrm>
        </p:spPr>
        <p:txBody>
          <a:bodyPr anchor="b" anchorCtr="0"/>
          <a:lstStyle>
            <a:lvl1pPr>
              <a:lnSpc>
                <a:spcPct val="100000"/>
              </a:lnSpc>
              <a:defRPr sz="1267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20" name="Group 19"/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1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  <a:latin typeface="Open Sans" panose="020B0606030504020204" pitchFamily="34" charset="0"/>
              </a:endParaRPr>
            </a:p>
          </p:txBody>
        </p:sp>
        <p:sp>
          <p:nvSpPr>
            <p:cNvPr id="22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  <a:latin typeface="Open Sans" panose="020B0606030504020204" pitchFamily="34" charset="0"/>
              </a:endParaRPr>
            </a:p>
          </p:txBody>
        </p:sp>
        <p:sp>
          <p:nvSpPr>
            <p:cNvPr id="23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  <a:latin typeface="Open Sans" panose="020B0606030504020204" pitchFamily="34" charset="0"/>
              </a:endParaRPr>
            </a:p>
          </p:txBody>
        </p:sp>
        <p:sp>
          <p:nvSpPr>
            <p:cNvPr id="24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  <a:latin typeface="Open Sans" panose="020B0606030504020204" pitchFamily="34" charset="0"/>
              </a:endParaRPr>
            </a:p>
          </p:txBody>
        </p:sp>
        <p:sp>
          <p:nvSpPr>
            <p:cNvPr id="25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  <a:latin typeface="Open Sans" panose="020B0606030504020204" pitchFamily="34" charset="0"/>
              </a:endParaRPr>
            </a:p>
          </p:txBody>
        </p:sp>
        <p:sp>
          <p:nvSpPr>
            <p:cNvPr id="26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  <a:latin typeface="Open Sans" panose="020B0606030504020204" pitchFamily="34" charset="0"/>
              </a:endParaRPr>
            </a:p>
          </p:txBody>
        </p:sp>
        <p:sp>
          <p:nvSpPr>
            <p:cNvPr id="27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  <a:latin typeface="Open Sans" panose="020B0606030504020204" pitchFamily="34" charset="0"/>
              </a:endParaRPr>
            </a:p>
          </p:txBody>
        </p:sp>
        <p:sp>
          <p:nvSpPr>
            <p:cNvPr id="28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  <a:latin typeface="Open Sans" panose="020B0606030504020204" pitchFamily="34" charset="0"/>
              </a:endParaRPr>
            </a:p>
          </p:txBody>
        </p:sp>
        <p:sp>
          <p:nvSpPr>
            <p:cNvPr id="29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  <a:latin typeface="Open Sans" panose="020B0606030504020204" pitchFamily="34" charset="0"/>
              </a:endParaRPr>
            </a:p>
          </p:txBody>
        </p:sp>
        <p:sp>
          <p:nvSpPr>
            <p:cNvPr id="30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  <a:latin typeface="Open Sans" panose="020B0606030504020204" pitchFamily="34" charset="0"/>
              </a:endParaRPr>
            </a:p>
          </p:txBody>
        </p:sp>
      </p:grp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E4D21470-354E-4EEE-9EF6-D6156C63EA5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057884" y="219411"/>
            <a:ext cx="1635171" cy="237789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Insert Breadcrumbs</a:t>
            </a:r>
          </a:p>
        </p:txBody>
      </p:sp>
    </p:spTree>
    <p:extLst>
      <p:ext uri="{BB962C8B-B14F-4D97-AF65-F5344CB8AC3E}">
        <p14:creationId xmlns:p14="http://schemas.microsoft.com/office/powerpoint/2010/main" val="76414468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1519" y="393192"/>
            <a:ext cx="10363200" cy="594360"/>
          </a:xfrm>
        </p:spPr>
        <p:txBody>
          <a:bodyPr vert="horz" lIns="0" tIns="45720" rIns="0" bIns="0" rtlCol="0" anchor="b" anchorCtr="0">
            <a:noAutofit/>
          </a:bodyPr>
          <a:lstStyle>
            <a:lvl1pPr>
              <a:defRPr lang="en-US" sz="2400" b="1" spc="-75" dirty="0">
                <a:latin typeface="Open Sans" panose="020B0606030504020204" pitchFamily="34" charset="0"/>
              </a:defRPr>
            </a:lvl1pPr>
          </a:lstStyle>
          <a:p>
            <a:pPr lvl="0" defTabSz="685800">
              <a:lnSpc>
                <a:spcPct val="85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721840" y="1051560"/>
            <a:ext cx="10362880" cy="475488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2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228600" lvl="0" indent="-228600">
              <a:lnSpc>
                <a:spcPct val="130000"/>
              </a:lnSpc>
            </a:pPr>
            <a:r>
              <a:rPr lang="en-US"/>
              <a:t>Click to edit Master text styles</a:t>
            </a:r>
          </a:p>
        </p:txBody>
      </p:sp>
      <p:sp>
        <p:nvSpPr>
          <p:cNvPr id="5" name="Holder 6">
            <a:extLst>
              <a:ext uri="{FF2B5EF4-FFF2-40B4-BE49-F238E27FC236}">
                <a16:creationId xmlns:a16="http://schemas.microsoft.com/office/drawing/2014/main" id="{32286968-895F-4FB6-B265-00EE5158176A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11811000" y="6468814"/>
            <a:ext cx="250825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000" b="0" i="0">
                <a:solidFill>
                  <a:schemeClr val="bg1">
                    <a:lumMod val="65000"/>
                  </a:schemeClr>
                </a:solidFill>
                <a:latin typeface="Open Sans"/>
                <a:cs typeface="Open Sans"/>
              </a:defRPr>
            </a:lvl1pPr>
          </a:lstStyle>
          <a:p>
            <a:pPr marL="38100">
              <a:spcBef>
                <a:spcPts val="180"/>
              </a:spcBef>
            </a:pPr>
            <a:fld id="{81D60167-4931-47E6-BA6A-407CBD079E47}" type="slidenum">
              <a:rPr lang="en-US" smtClean="0"/>
              <a:pPr marL="38100">
                <a:spcBef>
                  <a:spcPts val="180"/>
                </a:spcBef>
              </a:pPr>
              <a:t>‹#›</a:t>
            </a:fld>
            <a:endParaRPr lang="en-US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D913577B-04E1-4509-87BC-E448F445F38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057884" y="219411"/>
            <a:ext cx="1635171" cy="237789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Insert Breadcrumbs</a:t>
            </a:r>
          </a:p>
        </p:txBody>
      </p:sp>
    </p:spTree>
    <p:extLst>
      <p:ext uri="{BB962C8B-B14F-4D97-AF65-F5344CB8AC3E}">
        <p14:creationId xmlns:p14="http://schemas.microsoft.com/office/powerpoint/2010/main" val="3985065885"/>
      </p:ext>
    </p:extLst>
  </p:cSld>
  <p:clrMapOvr>
    <a:masterClrMapping/>
  </p:clrMapOvr>
  <p:hf hdr="0" ftr="0" dt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head &amp; Breadcrum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694944"/>
            <a:ext cx="10363200" cy="594360"/>
          </a:xfrm>
        </p:spPr>
        <p:txBody>
          <a:bodyPr vert="horz" lIns="0" tIns="45720" rIns="0" bIns="0" rtlCol="0" anchor="b" anchorCtr="0">
            <a:noAutofit/>
          </a:bodyPr>
          <a:lstStyle>
            <a:lvl1pPr>
              <a:defRPr lang="en-US" sz="3600" spc="-75" dirty="0">
                <a:latin typeface="Open Sans" panose="020B0606030504020204" pitchFamily="34" charset="0"/>
              </a:defRPr>
            </a:lvl1pPr>
          </a:lstStyle>
          <a:p>
            <a:pPr lvl="0" defTabSz="685800">
              <a:lnSpc>
                <a:spcPct val="85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914721" y="1353312"/>
            <a:ext cx="10362880" cy="475488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200"/>
            </a:lvl1pPr>
          </a:lstStyle>
          <a:p>
            <a:pPr marL="228600" lvl="0" indent="-228600">
              <a:lnSpc>
                <a:spcPct val="130000"/>
              </a:lnSpc>
            </a:pPr>
            <a:r>
              <a:rPr lang="en-US"/>
              <a:t>Edit Master text styles</a:t>
            </a:r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914971" y="466344"/>
            <a:ext cx="3355848" cy="203200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900" b="1" kern="0" cap="all" spc="250" baseline="0" dirty="0">
                <a:solidFill>
                  <a:schemeClr val="accent5">
                    <a:lumMod val="60000"/>
                    <a:lumOff val="40000"/>
                  </a:schemeClr>
                </a:solidFill>
                <a:ea typeface="Nexa Black" charset="0"/>
                <a:cs typeface="Nexa Black" charset="0"/>
              </a:defRPr>
            </a:lvl1pPr>
          </a:lstStyle>
          <a:p>
            <a:pPr marL="228600" lvl="0" indent="-228600"/>
            <a:r>
              <a:rPr lang="en-US"/>
              <a:t>BREADCRUMBS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8191A185-FC45-474A-A100-FF1EB658D2B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057884" y="219411"/>
            <a:ext cx="1635171" cy="237789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Insert Breadcrumbs</a:t>
            </a:r>
          </a:p>
        </p:txBody>
      </p:sp>
    </p:spTree>
    <p:extLst>
      <p:ext uri="{BB962C8B-B14F-4D97-AF65-F5344CB8AC3E}">
        <p14:creationId xmlns:p14="http://schemas.microsoft.com/office/powerpoint/2010/main" val="311105298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7999"/>
          </a:xfrm>
          <a:noFill/>
        </p:spPr>
        <p:txBody>
          <a:bodyPr anchor="ctr"/>
          <a:lstStyle>
            <a:lvl1pPr marL="0" indent="0" algn="ctr">
              <a:buNone/>
              <a:defRPr>
                <a:solidFill>
                  <a:schemeClr val="accent6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914402" y="4252800"/>
            <a:ext cx="4389120" cy="2605200"/>
          </a:xfrm>
          <a:solidFill>
            <a:schemeClr val="bg1"/>
          </a:solidFill>
        </p:spPr>
        <p:txBody>
          <a:bodyPr vert="horz" lIns="365760" tIns="365760" rIns="365760" bIns="1280160" rtlCol="0" anchor="b" anchorCtr="0">
            <a:spAutoFit/>
          </a:bodyPr>
          <a:lstStyle>
            <a:lvl1pPr>
              <a:lnSpc>
                <a:spcPct val="90000"/>
              </a:lnSpc>
              <a:defRPr lang="en-US" sz="3600" b="1" baseline="0" dirty="0">
                <a:solidFill>
                  <a:sysClr val="windowText" lastClr="000000"/>
                </a:solidFill>
                <a:latin typeface="Open Sans" panose="020B0606030504020204" pitchFamily="34" charset="0"/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Title</a:t>
            </a:r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2" y="5694829"/>
            <a:ext cx="4389120" cy="1163171"/>
          </a:xfrm>
        </p:spPr>
        <p:txBody>
          <a:bodyPr vert="horz" lIns="365760" tIns="0" rIns="365760" bIns="0" rtlCol="0">
            <a:noAutofit/>
          </a:bodyPr>
          <a:lstStyle>
            <a:lvl1pPr marL="0" indent="0">
              <a:buNone/>
              <a:defRPr lang="en-US" sz="1400" baseline="0" dirty="0"/>
            </a:lvl1pPr>
          </a:lstStyle>
          <a:p>
            <a:pPr marL="228600" lvl="0" indent="-228600">
              <a:lnSpc>
                <a:spcPct val="130000"/>
              </a:lnSpc>
            </a:pPr>
            <a:r>
              <a:rPr lang="en-US"/>
              <a:t>Click to edit subtitle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78EB6DF8-EB35-4E85-AD4A-3A5EC5576F1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057884" y="219411"/>
            <a:ext cx="1635171" cy="237789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Insert Breadcrumbs</a:t>
            </a:r>
          </a:p>
        </p:txBody>
      </p:sp>
    </p:spTree>
    <p:extLst>
      <p:ext uri="{BB962C8B-B14F-4D97-AF65-F5344CB8AC3E}">
        <p14:creationId xmlns:p14="http://schemas.microsoft.com/office/powerpoint/2010/main" val="353142184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694944"/>
            <a:ext cx="10363200" cy="594360"/>
          </a:xfrm>
        </p:spPr>
        <p:txBody>
          <a:bodyPr vert="horz" lIns="0" tIns="45720" rIns="0" bIns="0" rtlCol="0" anchor="b" anchorCtr="0">
            <a:noAutofit/>
          </a:bodyPr>
          <a:lstStyle>
            <a:lvl1pPr>
              <a:defRPr lang="en-US" sz="3600" b="0" spc="-75" dirty="0">
                <a:latin typeface="Open Sans" panose="020B0606030504020204" pitchFamily="34" charset="0"/>
              </a:defRPr>
            </a:lvl1pPr>
          </a:lstStyle>
          <a:p>
            <a:pPr lvl="0" defTabSz="685800">
              <a:lnSpc>
                <a:spcPct val="85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56EB3C70-3E6F-4054-BC39-1D419C6F6F0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057884" y="219411"/>
            <a:ext cx="1635171" cy="237789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Insert Breadcrumbs</a:t>
            </a:r>
          </a:p>
        </p:txBody>
      </p:sp>
    </p:spTree>
    <p:extLst>
      <p:ext uri="{BB962C8B-B14F-4D97-AF65-F5344CB8AC3E}">
        <p14:creationId xmlns:p14="http://schemas.microsoft.com/office/powerpoint/2010/main" val="378033722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Breadcrumb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694944"/>
            <a:ext cx="10363200" cy="594360"/>
          </a:xfrm>
        </p:spPr>
        <p:txBody>
          <a:bodyPr vert="horz" lIns="0" tIns="45720" rIns="0" bIns="0" rtlCol="0" anchor="b" anchorCtr="0">
            <a:noAutofit/>
          </a:bodyPr>
          <a:lstStyle>
            <a:lvl1pPr>
              <a:defRPr lang="en-US" sz="3600" b="0" spc="-75" dirty="0">
                <a:latin typeface="Open Sans" panose="020B0606030504020204" pitchFamily="34" charset="0"/>
              </a:defRPr>
            </a:lvl1pPr>
          </a:lstStyle>
          <a:p>
            <a:pPr lvl="0" defTabSz="685800">
              <a:lnSpc>
                <a:spcPct val="85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FD545910-EC58-4E59-AC9B-9F096DAB358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4971" y="466344"/>
            <a:ext cx="3355848" cy="203200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900" b="1" kern="0" cap="all" spc="250" baseline="0" dirty="0">
                <a:solidFill>
                  <a:schemeClr val="accent5">
                    <a:lumMod val="60000"/>
                    <a:lumOff val="40000"/>
                  </a:schemeClr>
                </a:solidFill>
                <a:ea typeface="Nexa Black" charset="0"/>
                <a:cs typeface="Nexa Black" charset="0"/>
              </a:defRPr>
            </a:lvl1pPr>
          </a:lstStyle>
          <a:p>
            <a:pPr marL="228600" lvl="0" indent="-228600"/>
            <a:r>
              <a:rPr lang="en-US"/>
              <a:t>BREADCRUMBS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514F48D2-78EE-4EC1-AFBD-ABDE3A20E44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057884" y="219411"/>
            <a:ext cx="1635171" cy="237789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Insert Breadcrumbs</a:t>
            </a:r>
          </a:p>
        </p:txBody>
      </p:sp>
    </p:spTree>
    <p:extLst>
      <p:ext uri="{BB962C8B-B14F-4D97-AF65-F5344CB8AC3E}">
        <p14:creationId xmlns:p14="http://schemas.microsoft.com/office/powerpoint/2010/main" val="1583556000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Right, Subhead &amp; Breadcrumb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B912B5A-4EFE-4F10-9322-C971DDF230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605113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B912B5A-4EFE-4F10-9322-C971DDF230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CF43516-C935-4785-8727-EA48BADEDCC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hronicle Display Black" pitchFamily="50" charset="0"/>
              <a:sym typeface="Chronicle Display Black" pitchFamily="50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DFAB292-D9D0-4411-8456-90C02DB401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0" y="669544"/>
            <a:ext cx="6137512" cy="38139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838CA61B-8DBB-4395-9E9F-405E5CBF79F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4806950" cy="6858000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accent6"/>
                </a:solidFill>
              </a:defRPr>
            </a:lvl1pPr>
          </a:lstStyle>
          <a:p>
            <a:r>
              <a:rPr lang="en-US"/>
              <a:t>Click to insert pictur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6650516E-641C-4EFA-8CA7-4E0C60B42CE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97500" y="1050936"/>
            <a:ext cx="6137512" cy="381392"/>
          </a:xfrm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sz="1400"/>
              <a:t>Click to edit Master text styles</a:t>
            </a:r>
            <a:endParaRPr lang="en-US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E0280C66-47F5-4458-AA31-95CF3025E37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397500" y="466344"/>
            <a:ext cx="3355848" cy="203200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900" b="1" kern="0" cap="all" spc="250" baseline="0" dirty="0">
                <a:solidFill>
                  <a:schemeClr val="accent5">
                    <a:lumMod val="60000"/>
                    <a:lumOff val="40000"/>
                  </a:schemeClr>
                </a:solidFill>
                <a:ea typeface="Nexa Black" charset="0"/>
                <a:cs typeface="Nexa Black" charset="0"/>
              </a:defRPr>
            </a:lvl1pPr>
          </a:lstStyle>
          <a:p>
            <a:pPr marL="228600" lvl="0" indent="-228600"/>
            <a:r>
              <a:rPr lang="en-US"/>
              <a:t>BREADCRUMBS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03CD13F1-6A6F-4F89-8CCB-59C2B2D31D8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057884" y="219411"/>
            <a:ext cx="1635171" cy="237789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Insert Breadcrumbs</a:t>
            </a:r>
          </a:p>
        </p:txBody>
      </p:sp>
    </p:spTree>
    <p:extLst>
      <p:ext uri="{BB962C8B-B14F-4D97-AF65-F5344CB8AC3E}">
        <p14:creationId xmlns:p14="http://schemas.microsoft.com/office/powerpoint/2010/main" val="4080555479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vider">
    <p:bg>
      <p:bgPr>
        <a:solidFill>
          <a:srgbClr val="FDD3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44B521E-45B1-4DF5-AF83-CF81FF72A0A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079722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44B521E-45B1-4DF5-AF83-CF81FF72A0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3">
            <a:extLst>
              <a:ext uri="{FF2B5EF4-FFF2-40B4-BE49-F238E27FC236}">
                <a16:creationId xmlns:a16="http://schemas.microsoft.com/office/drawing/2014/main" id="{B9F01BCD-D0E7-4C16-818C-FDF6C61207F4}"/>
              </a:ext>
            </a:extLst>
          </p:cNvPr>
          <p:cNvGrpSpPr/>
          <p:nvPr userDrawn="1"/>
        </p:nvGrpSpPr>
        <p:grpSpPr>
          <a:xfrm>
            <a:off x="6591045" y="2239972"/>
            <a:ext cx="2452738" cy="2728580"/>
            <a:chOff x="6953285" y="3278976"/>
            <a:chExt cx="1506831" cy="1682464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035AD732-4189-4F7D-8A59-BEA1A0C74690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291345" y="3278976"/>
              <a:ext cx="1168771" cy="1682464"/>
              <a:chOff x="5614264" y="2194216"/>
              <a:chExt cx="2755900" cy="3967163"/>
            </a:xfrm>
          </p:grpSpPr>
          <p:sp>
            <p:nvSpPr>
              <p:cNvPr id="7" name="Freeform 55">
                <a:extLst>
                  <a:ext uri="{FF2B5EF4-FFF2-40B4-BE49-F238E27FC236}">
                    <a16:creationId xmlns:a16="http://schemas.microsoft.com/office/drawing/2014/main" id="{4E44469E-381F-4E01-A7CB-1C0D52CCBF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14264" y="2194216"/>
                <a:ext cx="2755900" cy="3967163"/>
              </a:xfrm>
              <a:custGeom>
                <a:avLst/>
                <a:gdLst>
                  <a:gd name="T0" fmla="*/ 1484 w 1736"/>
                  <a:gd name="T1" fmla="*/ 1601 h 2499"/>
                  <a:gd name="T2" fmla="*/ 1675 w 1736"/>
                  <a:gd name="T3" fmla="*/ 999 h 2499"/>
                  <a:gd name="T4" fmla="*/ 1696 w 1736"/>
                  <a:gd name="T5" fmla="*/ 908 h 2499"/>
                  <a:gd name="T6" fmla="*/ 1705 w 1736"/>
                  <a:gd name="T7" fmla="*/ 815 h 2499"/>
                  <a:gd name="T8" fmla="*/ 1705 w 1736"/>
                  <a:gd name="T9" fmla="*/ 745 h 2499"/>
                  <a:gd name="T10" fmla="*/ 1690 w 1736"/>
                  <a:gd name="T11" fmla="*/ 632 h 2499"/>
                  <a:gd name="T12" fmla="*/ 1660 w 1736"/>
                  <a:gd name="T13" fmla="*/ 526 h 2499"/>
                  <a:gd name="T14" fmla="*/ 1614 w 1736"/>
                  <a:gd name="T15" fmla="*/ 424 h 2499"/>
                  <a:gd name="T16" fmla="*/ 1555 w 1736"/>
                  <a:gd name="T17" fmla="*/ 334 h 2499"/>
                  <a:gd name="T18" fmla="*/ 1484 w 1736"/>
                  <a:gd name="T19" fmla="*/ 252 h 2499"/>
                  <a:gd name="T20" fmla="*/ 1403 w 1736"/>
                  <a:gd name="T21" fmla="*/ 180 h 2499"/>
                  <a:gd name="T22" fmla="*/ 1310 w 1736"/>
                  <a:gd name="T23" fmla="*/ 122 h 2499"/>
                  <a:gd name="T24" fmla="*/ 1210 w 1736"/>
                  <a:gd name="T25" fmla="*/ 76 h 2499"/>
                  <a:gd name="T26" fmla="*/ 1103 w 1736"/>
                  <a:gd name="T27" fmla="*/ 46 h 2499"/>
                  <a:gd name="T28" fmla="*/ 990 w 1736"/>
                  <a:gd name="T29" fmla="*/ 32 h 2499"/>
                  <a:gd name="T30" fmla="*/ 914 w 1736"/>
                  <a:gd name="T31" fmla="*/ 32 h 2499"/>
                  <a:gd name="T32" fmla="*/ 801 w 1736"/>
                  <a:gd name="T33" fmla="*/ 46 h 2499"/>
                  <a:gd name="T34" fmla="*/ 693 w 1736"/>
                  <a:gd name="T35" fmla="*/ 76 h 2499"/>
                  <a:gd name="T36" fmla="*/ 593 w 1736"/>
                  <a:gd name="T37" fmla="*/ 122 h 2499"/>
                  <a:gd name="T38" fmla="*/ 500 w 1736"/>
                  <a:gd name="T39" fmla="*/ 180 h 2499"/>
                  <a:gd name="T40" fmla="*/ 419 w 1736"/>
                  <a:gd name="T41" fmla="*/ 252 h 2499"/>
                  <a:gd name="T42" fmla="*/ 349 w 1736"/>
                  <a:gd name="T43" fmla="*/ 334 h 2499"/>
                  <a:gd name="T44" fmla="*/ 289 w 1736"/>
                  <a:gd name="T45" fmla="*/ 424 h 2499"/>
                  <a:gd name="T46" fmla="*/ 243 w 1736"/>
                  <a:gd name="T47" fmla="*/ 526 h 2499"/>
                  <a:gd name="T48" fmla="*/ 213 w 1736"/>
                  <a:gd name="T49" fmla="*/ 632 h 2499"/>
                  <a:gd name="T50" fmla="*/ 198 w 1736"/>
                  <a:gd name="T51" fmla="*/ 745 h 2499"/>
                  <a:gd name="T52" fmla="*/ 197 w 1736"/>
                  <a:gd name="T53" fmla="*/ 882 h 2499"/>
                  <a:gd name="T54" fmla="*/ 265 w 1736"/>
                  <a:gd name="T55" fmla="*/ 1845 h 2499"/>
                  <a:gd name="T56" fmla="*/ 658 w 1736"/>
                  <a:gd name="T57" fmla="*/ 2188 h 2499"/>
                  <a:gd name="T58" fmla="*/ 198 w 1736"/>
                  <a:gd name="T59" fmla="*/ 1391 h 2499"/>
                  <a:gd name="T60" fmla="*/ 167 w 1736"/>
                  <a:gd name="T61" fmla="*/ 784 h 2499"/>
                  <a:gd name="T62" fmla="*/ 172 w 1736"/>
                  <a:gd name="T63" fmla="*/ 704 h 2499"/>
                  <a:gd name="T64" fmla="*/ 193 w 1736"/>
                  <a:gd name="T65" fmla="*/ 589 h 2499"/>
                  <a:gd name="T66" fmla="*/ 230 w 1736"/>
                  <a:gd name="T67" fmla="*/ 480 h 2499"/>
                  <a:gd name="T68" fmla="*/ 282 w 1736"/>
                  <a:gd name="T69" fmla="*/ 378 h 2499"/>
                  <a:gd name="T70" fmla="*/ 347 w 1736"/>
                  <a:gd name="T71" fmla="*/ 285 h 2499"/>
                  <a:gd name="T72" fmla="*/ 424 w 1736"/>
                  <a:gd name="T73" fmla="*/ 204 h 2499"/>
                  <a:gd name="T74" fmla="*/ 513 w 1736"/>
                  <a:gd name="T75" fmla="*/ 133 h 2499"/>
                  <a:gd name="T76" fmla="*/ 612 w 1736"/>
                  <a:gd name="T77" fmla="*/ 78 h 2499"/>
                  <a:gd name="T78" fmla="*/ 719 w 1736"/>
                  <a:gd name="T79" fmla="*/ 35 h 2499"/>
                  <a:gd name="T80" fmla="*/ 832 w 1736"/>
                  <a:gd name="T81" fmla="*/ 9 h 2499"/>
                  <a:gd name="T82" fmla="*/ 953 w 1736"/>
                  <a:gd name="T83" fmla="*/ 0 h 2499"/>
                  <a:gd name="T84" fmla="*/ 1032 w 1736"/>
                  <a:gd name="T85" fmla="*/ 4 h 2499"/>
                  <a:gd name="T86" fmla="*/ 1147 w 1736"/>
                  <a:gd name="T87" fmla="*/ 24 h 2499"/>
                  <a:gd name="T88" fmla="*/ 1256 w 1736"/>
                  <a:gd name="T89" fmla="*/ 61 h 2499"/>
                  <a:gd name="T90" fmla="*/ 1358 w 1736"/>
                  <a:gd name="T91" fmla="*/ 113 h 2499"/>
                  <a:gd name="T92" fmla="*/ 1451 w 1736"/>
                  <a:gd name="T93" fmla="*/ 180 h 2499"/>
                  <a:gd name="T94" fmla="*/ 1532 w 1736"/>
                  <a:gd name="T95" fmla="*/ 258 h 2499"/>
                  <a:gd name="T96" fmla="*/ 1601 w 1736"/>
                  <a:gd name="T97" fmla="*/ 346 h 2499"/>
                  <a:gd name="T98" fmla="*/ 1658 w 1736"/>
                  <a:gd name="T99" fmla="*/ 445 h 2499"/>
                  <a:gd name="T100" fmla="*/ 1701 w 1736"/>
                  <a:gd name="T101" fmla="*/ 552 h 2499"/>
                  <a:gd name="T102" fmla="*/ 1727 w 1736"/>
                  <a:gd name="T103" fmla="*/ 665 h 2499"/>
                  <a:gd name="T104" fmla="*/ 1736 w 1736"/>
                  <a:gd name="T105" fmla="*/ 784 h 2499"/>
                  <a:gd name="T106" fmla="*/ 1733 w 1736"/>
                  <a:gd name="T107" fmla="*/ 849 h 2499"/>
                  <a:gd name="T108" fmla="*/ 1720 w 1736"/>
                  <a:gd name="T109" fmla="*/ 945 h 2499"/>
                  <a:gd name="T110" fmla="*/ 1694 w 1736"/>
                  <a:gd name="T111" fmla="*/ 1038 h 2499"/>
                  <a:gd name="T112" fmla="*/ 1625 w 1736"/>
                  <a:gd name="T113" fmla="*/ 2499 h 24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736" h="2499">
                    <a:moveTo>
                      <a:pt x="1625" y="2499"/>
                    </a:moveTo>
                    <a:lnTo>
                      <a:pt x="1484" y="1603"/>
                    </a:lnTo>
                    <a:lnTo>
                      <a:pt x="1484" y="1601"/>
                    </a:lnTo>
                    <a:lnTo>
                      <a:pt x="1664" y="1028"/>
                    </a:lnTo>
                    <a:lnTo>
                      <a:pt x="1664" y="1028"/>
                    </a:lnTo>
                    <a:lnTo>
                      <a:pt x="1675" y="999"/>
                    </a:lnTo>
                    <a:lnTo>
                      <a:pt x="1683" y="969"/>
                    </a:lnTo>
                    <a:lnTo>
                      <a:pt x="1690" y="939"/>
                    </a:lnTo>
                    <a:lnTo>
                      <a:pt x="1696" y="908"/>
                    </a:lnTo>
                    <a:lnTo>
                      <a:pt x="1699" y="878"/>
                    </a:lnTo>
                    <a:lnTo>
                      <a:pt x="1703" y="847"/>
                    </a:lnTo>
                    <a:lnTo>
                      <a:pt x="1705" y="815"/>
                    </a:lnTo>
                    <a:lnTo>
                      <a:pt x="1705" y="784"/>
                    </a:lnTo>
                    <a:lnTo>
                      <a:pt x="1705" y="784"/>
                    </a:lnTo>
                    <a:lnTo>
                      <a:pt x="1705" y="745"/>
                    </a:lnTo>
                    <a:lnTo>
                      <a:pt x="1701" y="708"/>
                    </a:lnTo>
                    <a:lnTo>
                      <a:pt x="1697" y="669"/>
                    </a:lnTo>
                    <a:lnTo>
                      <a:pt x="1690" y="632"/>
                    </a:lnTo>
                    <a:lnTo>
                      <a:pt x="1683" y="597"/>
                    </a:lnTo>
                    <a:lnTo>
                      <a:pt x="1671" y="560"/>
                    </a:lnTo>
                    <a:lnTo>
                      <a:pt x="1660" y="526"/>
                    </a:lnTo>
                    <a:lnTo>
                      <a:pt x="1645" y="491"/>
                    </a:lnTo>
                    <a:lnTo>
                      <a:pt x="1631" y="458"/>
                    </a:lnTo>
                    <a:lnTo>
                      <a:pt x="1614" y="424"/>
                    </a:lnTo>
                    <a:lnTo>
                      <a:pt x="1595" y="393"/>
                    </a:lnTo>
                    <a:lnTo>
                      <a:pt x="1577" y="363"/>
                    </a:lnTo>
                    <a:lnTo>
                      <a:pt x="1555" y="334"/>
                    </a:lnTo>
                    <a:lnTo>
                      <a:pt x="1532" y="306"/>
                    </a:lnTo>
                    <a:lnTo>
                      <a:pt x="1510" y="278"/>
                    </a:lnTo>
                    <a:lnTo>
                      <a:pt x="1484" y="252"/>
                    </a:lnTo>
                    <a:lnTo>
                      <a:pt x="1458" y="226"/>
                    </a:lnTo>
                    <a:lnTo>
                      <a:pt x="1431" y="202"/>
                    </a:lnTo>
                    <a:lnTo>
                      <a:pt x="1403" y="180"/>
                    </a:lnTo>
                    <a:lnTo>
                      <a:pt x="1373" y="159"/>
                    </a:lnTo>
                    <a:lnTo>
                      <a:pt x="1342" y="139"/>
                    </a:lnTo>
                    <a:lnTo>
                      <a:pt x="1310" y="122"/>
                    </a:lnTo>
                    <a:lnTo>
                      <a:pt x="1279" y="106"/>
                    </a:lnTo>
                    <a:lnTo>
                      <a:pt x="1245" y="89"/>
                    </a:lnTo>
                    <a:lnTo>
                      <a:pt x="1210" y="76"/>
                    </a:lnTo>
                    <a:lnTo>
                      <a:pt x="1175" y="65"/>
                    </a:lnTo>
                    <a:lnTo>
                      <a:pt x="1140" y="54"/>
                    </a:lnTo>
                    <a:lnTo>
                      <a:pt x="1103" y="46"/>
                    </a:lnTo>
                    <a:lnTo>
                      <a:pt x="1066" y="39"/>
                    </a:lnTo>
                    <a:lnTo>
                      <a:pt x="1028" y="35"/>
                    </a:lnTo>
                    <a:lnTo>
                      <a:pt x="990" y="32"/>
                    </a:lnTo>
                    <a:lnTo>
                      <a:pt x="953" y="30"/>
                    </a:lnTo>
                    <a:lnTo>
                      <a:pt x="953" y="30"/>
                    </a:lnTo>
                    <a:lnTo>
                      <a:pt x="914" y="32"/>
                    </a:lnTo>
                    <a:lnTo>
                      <a:pt x="875" y="35"/>
                    </a:lnTo>
                    <a:lnTo>
                      <a:pt x="838" y="39"/>
                    </a:lnTo>
                    <a:lnTo>
                      <a:pt x="801" y="46"/>
                    </a:lnTo>
                    <a:lnTo>
                      <a:pt x="764" y="54"/>
                    </a:lnTo>
                    <a:lnTo>
                      <a:pt x="728" y="65"/>
                    </a:lnTo>
                    <a:lnTo>
                      <a:pt x="693" y="76"/>
                    </a:lnTo>
                    <a:lnTo>
                      <a:pt x="658" y="89"/>
                    </a:lnTo>
                    <a:lnTo>
                      <a:pt x="625" y="106"/>
                    </a:lnTo>
                    <a:lnTo>
                      <a:pt x="593" y="122"/>
                    </a:lnTo>
                    <a:lnTo>
                      <a:pt x="562" y="139"/>
                    </a:lnTo>
                    <a:lnTo>
                      <a:pt x="530" y="159"/>
                    </a:lnTo>
                    <a:lnTo>
                      <a:pt x="500" y="180"/>
                    </a:lnTo>
                    <a:lnTo>
                      <a:pt x="473" y="202"/>
                    </a:lnTo>
                    <a:lnTo>
                      <a:pt x="445" y="226"/>
                    </a:lnTo>
                    <a:lnTo>
                      <a:pt x="419" y="252"/>
                    </a:lnTo>
                    <a:lnTo>
                      <a:pt x="395" y="278"/>
                    </a:lnTo>
                    <a:lnTo>
                      <a:pt x="371" y="306"/>
                    </a:lnTo>
                    <a:lnTo>
                      <a:pt x="349" y="334"/>
                    </a:lnTo>
                    <a:lnTo>
                      <a:pt x="326" y="363"/>
                    </a:lnTo>
                    <a:lnTo>
                      <a:pt x="308" y="393"/>
                    </a:lnTo>
                    <a:lnTo>
                      <a:pt x="289" y="424"/>
                    </a:lnTo>
                    <a:lnTo>
                      <a:pt x="273" y="458"/>
                    </a:lnTo>
                    <a:lnTo>
                      <a:pt x="258" y="491"/>
                    </a:lnTo>
                    <a:lnTo>
                      <a:pt x="243" y="526"/>
                    </a:lnTo>
                    <a:lnTo>
                      <a:pt x="232" y="560"/>
                    </a:lnTo>
                    <a:lnTo>
                      <a:pt x="223" y="597"/>
                    </a:lnTo>
                    <a:lnTo>
                      <a:pt x="213" y="632"/>
                    </a:lnTo>
                    <a:lnTo>
                      <a:pt x="206" y="669"/>
                    </a:lnTo>
                    <a:lnTo>
                      <a:pt x="202" y="708"/>
                    </a:lnTo>
                    <a:lnTo>
                      <a:pt x="198" y="745"/>
                    </a:lnTo>
                    <a:lnTo>
                      <a:pt x="198" y="784"/>
                    </a:lnTo>
                    <a:lnTo>
                      <a:pt x="197" y="878"/>
                    </a:lnTo>
                    <a:lnTo>
                      <a:pt x="197" y="882"/>
                    </a:lnTo>
                    <a:lnTo>
                      <a:pt x="41" y="1360"/>
                    </a:lnTo>
                    <a:lnTo>
                      <a:pt x="226" y="1360"/>
                    </a:lnTo>
                    <a:lnTo>
                      <a:pt x="265" y="1845"/>
                    </a:lnTo>
                    <a:lnTo>
                      <a:pt x="632" y="1801"/>
                    </a:lnTo>
                    <a:lnTo>
                      <a:pt x="688" y="2183"/>
                    </a:lnTo>
                    <a:lnTo>
                      <a:pt x="658" y="2188"/>
                    </a:lnTo>
                    <a:lnTo>
                      <a:pt x="606" y="1834"/>
                    </a:lnTo>
                    <a:lnTo>
                      <a:pt x="237" y="1879"/>
                    </a:lnTo>
                    <a:lnTo>
                      <a:pt x="198" y="1391"/>
                    </a:lnTo>
                    <a:lnTo>
                      <a:pt x="0" y="1391"/>
                    </a:lnTo>
                    <a:lnTo>
                      <a:pt x="167" y="875"/>
                    </a:lnTo>
                    <a:lnTo>
                      <a:pt x="167" y="784"/>
                    </a:lnTo>
                    <a:lnTo>
                      <a:pt x="167" y="784"/>
                    </a:lnTo>
                    <a:lnTo>
                      <a:pt x="169" y="743"/>
                    </a:lnTo>
                    <a:lnTo>
                      <a:pt x="172" y="704"/>
                    </a:lnTo>
                    <a:lnTo>
                      <a:pt x="176" y="665"/>
                    </a:lnTo>
                    <a:lnTo>
                      <a:pt x="184" y="626"/>
                    </a:lnTo>
                    <a:lnTo>
                      <a:pt x="193" y="589"/>
                    </a:lnTo>
                    <a:lnTo>
                      <a:pt x="202" y="552"/>
                    </a:lnTo>
                    <a:lnTo>
                      <a:pt x="215" y="515"/>
                    </a:lnTo>
                    <a:lnTo>
                      <a:pt x="230" y="480"/>
                    </a:lnTo>
                    <a:lnTo>
                      <a:pt x="245" y="445"/>
                    </a:lnTo>
                    <a:lnTo>
                      <a:pt x="263" y="411"/>
                    </a:lnTo>
                    <a:lnTo>
                      <a:pt x="282" y="378"/>
                    </a:lnTo>
                    <a:lnTo>
                      <a:pt x="302" y="346"/>
                    </a:lnTo>
                    <a:lnTo>
                      <a:pt x="324" y="315"/>
                    </a:lnTo>
                    <a:lnTo>
                      <a:pt x="347" y="285"/>
                    </a:lnTo>
                    <a:lnTo>
                      <a:pt x="371" y="258"/>
                    </a:lnTo>
                    <a:lnTo>
                      <a:pt x="397" y="230"/>
                    </a:lnTo>
                    <a:lnTo>
                      <a:pt x="424" y="204"/>
                    </a:lnTo>
                    <a:lnTo>
                      <a:pt x="454" y="180"/>
                    </a:lnTo>
                    <a:lnTo>
                      <a:pt x="484" y="156"/>
                    </a:lnTo>
                    <a:lnTo>
                      <a:pt x="513" y="133"/>
                    </a:lnTo>
                    <a:lnTo>
                      <a:pt x="545" y="113"/>
                    </a:lnTo>
                    <a:lnTo>
                      <a:pt x="578" y="95"/>
                    </a:lnTo>
                    <a:lnTo>
                      <a:pt x="612" y="78"/>
                    </a:lnTo>
                    <a:lnTo>
                      <a:pt x="647" y="61"/>
                    </a:lnTo>
                    <a:lnTo>
                      <a:pt x="682" y="48"/>
                    </a:lnTo>
                    <a:lnTo>
                      <a:pt x="719" y="35"/>
                    </a:lnTo>
                    <a:lnTo>
                      <a:pt x="756" y="24"/>
                    </a:lnTo>
                    <a:lnTo>
                      <a:pt x="793" y="17"/>
                    </a:lnTo>
                    <a:lnTo>
                      <a:pt x="832" y="9"/>
                    </a:lnTo>
                    <a:lnTo>
                      <a:pt x="871" y="4"/>
                    </a:lnTo>
                    <a:lnTo>
                      <a:pt x="912" y="2"/>
                    </a:lnTo>
                    <a:lnTo>
                      <a:pt x="953" y="0"/>
                    </a:lnTo>
                    <a:lnTo>
                      <a:pt x="953" y="0"/>
                    </a:lnTo>
                    <a:lnTo>
                      <a:pt x="991" y="2"/>
                    </a:lnTo>
                    <a:lnTo>
                      <a:pt x="1032" y="4"/>
                    </a:lnTo>
                    <a:lnTo>
                      <a:pt x="1071" y="9"/>
                    </a:lnTo>
                    <a:lnTo>
                      <a:pt x="1110" y="17"/>
                    </a:lnTo>
                    <a:lnTo>
                      <a:pt x="1147" y="24"/>
                    </a:lnTo>
                    <a:lnTo>
                      <a:pt x="1184" y="35"/>
                    </a:lnTo>
                    <a:lnTo>
                      <a:pt x="1221" y="48"/>
                    </a:lnTo>
                    <a:lnTo>
                      <a:pt x="1256" y="61"/>
                    </a:lnTo>
                    <a:lnTo>
                      <a:pt x="1292" y="78"/>
                    </a:lnTo>
                    <a:lnTo>
                      <a:pt x="1325" y="95"/>
                    </a:lnTo>
                    <a:lnTo>
                      <a:pt x="1358" y="113"/>
                    </a:lnTo>
                    <a:lnTo>
                      <a:pt x="1390" y="133"/>
                    </a:lnTo>
                    <a:lnTo>
                      <a:pt x="1421" y="156"/>
                    </a:lnTo>
                    <a:lnTo>
                      <a:pt x="1451" y="180"/>
                    </a:lnTo>
                    <a:lnTo>
                      <a:pt x="1479" y="204"/>
                    </a:lnTo>
                    <a:lnTo>
                      <a:pt x="1507" y="230"/>
                    </a:lnTo>
                    <a:lnTo>
                      <a:pt x="1532" y="258"/>
                    </a:lnTo>
                    <a:lnTo>
                      <a:pt x="1557" y="285"/>
                    </a:lnTo>
                    <a:lnTo>
                      <a:pt x="1581" y="315"/>
                    </a:lnTo>
                    <a:lnTo>
                      <a:pt x="1601" y="346"/>
                    </a:lnTo>
                    <a:lnTo>
                      <a:pt x="1621" y="378"/>
                    </a:lnTo>
                    <a:lnTo>
                      <a:pt x="1642" y="411"/>
                    </a:lnTo>
                    <a:lnTo>
                      <a:pt x="1658" y="445"/>
                    </a:lnTo>
                    <a:lnTo>
                      <a:pt x="1673" y="480"/>
                    </a:lnTo>
                    <a:lnTo>
                      <a:pt x="1688" y="515"/>
                    </a:lnTo>
                    <a:lnTo>
                      <a:pt x="1701" y="552"/>
                    </a:lnTo>
                    <a:lnTo>
                      <a:pt x="1710" y="589"/>
                    </a:lnTo>
                    <a:lnTo>
                      <a:pt x="1720" y="626"/>
                    </a:lnTo>
                    <a:lnTo>
                      <a:pt x="1727" y="665"/>
                    </a:lnTo>
                    <a:lnTo>
                      <a:pt x="1733" y="704"/>
                    </a:lnTo>
                    <a:lnTo>
                      <a:pt x="1734" y="745"/>
                    </a:lnTo>
                    <a:lnTo>
                      <a:pt x="1736" y="784"/>
                    </a:lnTo>
                    <a:lnTo>
                      <a:pt x="1736" y="784"/>
                    </a:lnTo>
                    <a:lnTo>
                      <a:pt x="1734" y="817"/>
                    </a:lnTo>
                    <a:lnTo>
                      <a:pt x="1733" y="849"/>
                    </a:lnTo>
                    <a:lnTo>
                      <a:pt x="1731" y="882"/>
                    </a:lnTo>
                    <a:lnTo>
                      <a:pt x="1725" y="913"/>
                    </a:lnTo>
                    <a:lnTo>
                      <a:pt x="1720" y="945"/>
                    </a:lnTo>
                    <a:lnTo>
                      <a:pt x="1712" y="976"/>
                    </a:lnTo>
                    <a:lnTo>
                      <a:pt x="1703" y="1008"/>
                    </a:lnTo>
                    <a:lnTo>
                      <a:pt x="1694" y="1038"/>
                    </a:lnTo>
                    <a:lnTo>
                      <a:pt x="1516" y="1604"/>
                    </a:lnTo>
                    <a:lnTo>
                      <a:pt x="1657" y="2494"/>
                    </a:lnTo>
                    <a:lnTo>
                      <a:pt x="1625" y="249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grpSp>
            <p:nvGrpSpPr>
              <p:cNvPr id="8" name="Group 7">
                <a:extLst>
                  <a:ext uri="{FF2B5EF4-FFF2-40B4-BE49-F238E27FC236}">
                    <a16:creationId xmlns:a16="http://schemas.microsoft.com/office/drawing/2014/main" id="{1884EB90-856A-4B3D-8C41-380E81E27851}"/>
                  </a:ext>
                </a:extLst>
              </p:cNvPr>
              <p:cNvGrpSpPr/>
              <p:nvPr/>
            </p:nvGrpSpPr>
            <p:grpSpPr>
              <a:xfrm>
                <a:off x="6207989" y="2521241"/>
                <a:ext cx="1833563" cy="3140075"/>
                <a:chOff x="7651751" y="2178051"/>
                <a:chExt cx="1833563" cy="3140075"/>
              </a:xfrm>
            </p:grpSpPr>
            <p:sp>
              <p:nvSpPr>
                <p:cNvPr id="9" name="Rectangle 8">
                  <a:extLst>
                    <a:ext uri="{FF2B5EF4-FFF2-40B4-BE49-F238E27FC236}">
                      <a16:creationId xmlns:a16="http://schemas.microsoft.com/office/drawing/2014/main" id="{5FF9FA55-6F13-46E9-B9A9-A10B60C42CD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4475163"/>
                  <a:ext cx="49213" cy="46038"/>
                </a:xfrm>
                <a:prstGeom prst="rect">
                  <a:avLst/>
                </a:prstGeom>
                <a:solidFill>
                  <a:srgbClr val="52585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0" name="Rectangle 9">
                  <a:extLst>
                    <a:ext uri="{FF2B5EF4-FFF2-40B4-BE49-F238E27FC236}">
                      <a16:creationId xmlns:a16="http://schemas.microsoft.com/office/drawing/2014/main" id="{5E05CB57-E35B-471D-BA9D-6AE183DE802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4575176"/>
                  <a:ext cx="49213" cy="46038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1" name="Rectangle 10">
                  <a:extLst>
                    <a:ext uri="{FF2B5EF4-FFF2-40B4-BE49-F238E27FC236}">
                      <a16:creationId xmlns:a16="http://schemas.microsoft.com/office/drawing/2014/main" id="{917B6F65-886C-4190-9FA3-150088DB411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4675188"/>
                  <a:ext cx="49213" cy="46038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2" name="Rectangle 11">
                  <a:extLst>
                    <a:ext uri="{FF2B5EF4-FFF2-40B4-BE49-F238E27FC236}">
                      <a16:creationId xmlns:a16="http://schemas.microsoft.com/office/drawing/2014/main" id="{D04EF3EF-7492-4924-B3E4-4CB85BE2936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4775201"/>
                  <a:ext cx="49213" cy="46038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3" name="Rectangle 12">
                  <a:extLst>
                    <a:ext uri="{FF2B5EF4-FFF2-40B4-BE49-F238E27FC236}">
                      <a16:creationId xmlns:a16="http://schemas.microsoft.com/office/drawing/2014/main" id="{DB852891-76E9-4DE8-99BB-C456338C691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4872038"/>
                  <a:ext cx="49213" cy="49213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4" name="Rectangle 13">
                  <a:extLst>
                    <a:ext uri="{FF2B5EF4-FFF2-40B4-BE49-F238E27FC236}">
                      <a16:creationId xmlns:a16="http://schemas.microsoft.com/office/drawing/2014/main" id="{76F966E4-BDBB-4EA2-AF2B-CE2D055C5C0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4972051"/>
                  <a:ext cx="49213" cy="49213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5" name="Rectangle 14">
                  <a:extLst>
                    <a:ext uri="{FF2B5EF4-FFF2-40B4-BE49-F238E27FC236}">
                      <a16:creationId xmlns:a16="http://schemas.microsoft.com/office/drawing/2014/main" id="{47D17988-145F-4083-A8C8-26E7E72E0F0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5072063"/>
                  <a:ext cx="49213" cy="49213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6" name="Rectangle 15">
                  <a:extLst>
                    <a:ext uri="{FF2B5EF4-FFF2-40B4-BE49-F238E27FC236}">
                      <a16:creationId xmlns:a16="http://schemas.microsoft.com/office/drawing/2014/main" id="{6132E3B0-8425-460B-B1F1-FCACFFD24B4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5172076"/>
                  <a:ext cx="49213" cy="49213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7" name="Rectangle 16">
                  <a:extLst>
                    <a:ext uri="{FF2B5EF4-FFF2-40B4-BE49-F238E27FC236}">
                      <a16:creationId xmlns:a16="http://schemas.microsoft.com/office/drawing/2014/main" id="{389052EF-3A92-42FF-A8F5-AE5C61CDE12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5272088"/>
                  <a:ext cx="49213" cy="46038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8" name="Freeform 240">
                  <a:extLst>
                    <a:ext uri="{FF2B5EF4-FFF2-40B4-BE49-F238E27FC236}">
                      <a16:creationId xmlns:a16="http://schemas.microsoft.com/office/drawing/2014/main" id="{2C35CD08-6BC0-4B8B-B687-87817D9AA06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881938" y="2409826"/>
                  <a:ext cx="1373188" cy="1693863"/>
                </a:xfrm>
                <a:custGeom>
                  <a:avLst/>
                  <a:gdLst>
                    <a:gd name="T0" fmla="*/ 434 w 865"/>
                    <a:gd name="T1" fmla="*/ 0 h 1067"/>
                    <a:gd name="T2" fmla="*/ 389 w 865"/>
                    <a:gd name="T3" fmla="*/ 2 h 1067"/>
                    <a:gd name="T4" fmla="*/ 304 w 865"/>
                    <a:gd name="T5" fmla="*/ 19 h 1067"/>
                    <a:gd name="T6" fmla="*/ 226 w 865"/>
                    <a:gd name="T7" fmla="*/ 52 h 1067"/>
                    <a:gd name="T8" fmla="*/ 157 w 865"/>
                    <a:gd name="T9" fmla="*/ 98 h 1067"/>
                    <a:gd name="T10" fmla="*/ 98 w 865"/>
                    <a:gd name="T11" fmla="*/ 158 h 1067"/>
                    <a:gd name="T12" fmla="*/ 52 w 865"/>
                    <a:gd name="T13" fmla="*/ 226 h 1067"/>
                    <a:gd name="T14" fmla="*/ 20 w 865"/>
                    <a:gd name="T15" fmla="*/ 304 h 1067"/>
                    <a:gd name="T16" fmla="*/ 2 w 865"/>
                    <a:gd name="T17" fmla="*/ 387 h 1067"/>
                    <a:gd name="T18" fmla="*/ 0 w 865"/>
                    <a:gd name="T19" fmla="*/ 432 h 1067"/>
                    <a:gd name="T20" fmla="*/ 0 w 865"/>
                    <a:gd name="T21" fmla="*/ 456 h 1067"/>
                    <a:gd name="T22" fmla="*/ 6 w 865"/>
                    <a:gd name="T23" fmla="*/ 502 h 1067"/>
                    <a:gd name="T24" fmla="*/ 15 w 865"/>
                    <a:gd name="T25" fmla="*/ 547 h 1067"/>
                    <a:gd name="T26" fmla="*/ 30 w 865"/>
                    <a:gd name="T27" fmla="*/ 589 h 1067"/>
                    <a:gd name="T28" fmla="*/ 48 w 865"/>
                    <a:gd name="T29" fmla="*/ 630 h 1067"/>
                    <a:gd name="T30" fmla="*/ 70 w 865"/>
                    <a:gd name="T31" fmla="*/ 669 h 1067"/>
                    <a:gd name="T32" fmla="*/ 96 w 865"/>
                    <a:gd name="T33" fmla="*/ 704 h 1067"/>
                    <a:gd name="T34" fmla="*/ 141 w 865"/>
                    <a:gd name="T35" fmla="*/ 752 h 1067"/>
                    <a:gd name="T36" fmla="*/ 154 w 865"/>
                    <a:gd name="T37" fmla="*/ 763 h 1067"/>
                    <a:gd name="T38" fmla="*/ 178 w 865"/>
                    <a:gd name="T39" fmla="*/ 787 h 1067"/>
                    <a:gd name="T40" fmla="*/ 219 w 865"/>
                    <a:gd name="T41" fmla="*/ 843 h 1067"/>
                    <a:gd name="T42" fmla="*/ 246 w 865"/>
                    <a:gd name="T43" fmla="*/ 906 h 1067"/>
                    <a:gd name="T44" fmla="*/ 261 w 865"/>
                    <a:gd name="T45" fmla="*/ 975 h 1067"/>
                    <a:gd name="T46" fmla="*/ 263 w 865"/>
                    <a:gd name="T47" fmla="*/ 1067 h 1067"/>
                    <a:gd name="T48" fmla="*/ 602 w 865"/>
                    <a:gd name="T49" fmla="*/ 1067 h 1067"/>
                    <a:gd name="T50" fmla="*/ 602 w 865"/>
                    <a:gd name="T51" fmla="*/ 1012 h 1067"/>
                    <a:gd name="T52" fmla="*/ 610 w 865"/>
                    <a:gd name="T53" fmla="*/ 939 h 1067"/>
                    <a:gd name="T54" fmla="*/ 632 w 865"/>
                    <a:gd name="T55" fmla="*/ 873 h 1067"/>
                    <a:gd name="T56" fmla="*/ 667 w 865"/>
                    <a:gd name="T57" fmla="*/ 813 h 1067"/>
                    <a:gd name="T58" fmla="*/ 711 w 865"/>
                    <a:gd name="T59" fmla="*/ 763 h 1067"/>
                    <a:gd name="T60" fmla="*/ 724 w 865"/>
                    <a:gd name="T61" fmla="*/ 752 h 1067"/>
                    <a:gd name="T62" fmla="*/ 756 w 865"/>
                    <a:gd name="T63" fmla="*/ 721 h 1067"/>
                    <a:gd name="T64" fmla="*/ 784 w 865"/>
                    <a:gd name="T65" fmla="*/ 686 h 1067"/>
                    <a:gd name="T66" fmla="*/ 808 w 865"/>
                    <a:gd name="T67" fmla="*/ 648 h 1067"/>
                    <a:gd name="T68" fmla="*/ 828 w 865"/>
                    <a:gd name="T69" fmla="*/ 610 h 1067"/>
                    <a:gd name="T70" fmla="*/ 843 w 865"/>
                    <a:gd name="T71" fmla="*/ 569 h 1067"/>
                    <a:gd name="T72" fmla="*/ 856 w 865"/>
                    <a:gd name="T73" fmla="*/ 524 h 1067"/>
                    <a:gd name="T74" fmla="*/ 863 w 865"/>
                    <a:gd name="T75" fmla="*/ 480 h 1067"/>
                    <a:gd name="T76" fmla="*/ 865 w 865"/>
                    <a:gd name="T77" fmla="*/ 432 h 1067"/>
                    <a:gd name="T78" fmla="*/ 865 w 865"/>
                    <a:gd name="T79" fmla="*/ 409 h 1067"/>
                    <a:gd name="T80" fmla="*/ 856 w 865"/>
                    <a:gd name="T81" fmla="*/ 345 h 1067"/>
                    <a:gd name="T82" fmla="*/ 832 w 865"/>
                    <a:gd name="T83" fmla="*/ 263 h 1067"/>
                    <a:gd name="T84" fmla="*/ 791 w 865"/>
                    <a:gd name="T85" fmla="*/ 191 h 1067"/>
                    <a:gd name="T86" fmla="*/ 739 w 865"/>
                    <a:gd name="T87" fmla="*/ 126 h 1067"/>
                    <a:gd name="T88" fmla="*/ 674 w 865"/>
                    <a:gd name="T89" fmla="*/ 74 h 1067"/>
                    <a:gd name="T90" fmla="*/ 600 w 865"/>
                    <a:gd name="T91" fmla="*/ 33 h 1067"/>
                    <a:gd name="T92" fmla="*/ 521 w 865"/>
                    <a:gd name="T93" fmla="*/ 7 h 1067"/>
                    <a:gd name="T94" fmla="*/ 456 w 865"/>
                    <a:gd name="T95" fmla="*/ 0 h 1067"/>
                    <a:gd name="T96" fmla="*/ 434 w 865"/>
                    <a:gd name="T97" fmla="*/ 0 h 10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865" h="1067">
                      <a:moveTo>
                        <a:pt x="434" y="0"/>
                      </a:moveTo>
                      <a:lnTo>
                        <a:pt x="434" y="0"/>
                      </a:lnTo>
                      <a:lnTo>
                        <a:pt x="411" y="0"/>
                      </a:lnTo>
                      <a:lnTo>
                        <a:pt x="389" y="2"/>
                      </a:lnTo>
                      <a:lnTo>
                        <a:pt x="345" y="7"/>
                      </a:lnTo>
                      <a:lnTo>
                        <a:pt x="304" y="19"/>
                      </a:lnTo>
                      <a:lnTo>
                        <a:pt x="265" y="33"/>
                      </a:lnTo>
                      <a:lnTo>
                        <a:pt x="226" y="52"/>
                      </a:lnTo>
                      <a:lnTo>
                        <a:pt x="191" y="74"/>
                      </a:lnTo>
                      <a:lnTo>
                        <a:pt x="157" y="98"/>
                      </a:lnTo>
                      <a:lnTo>
                        <a:pt x="126" y="126"/>
                      </a:lnTo>
                      <a:lnTo>
                        <a:pt x="98" y="158"/>
                      </a:lnTo>
                      <a:lnTo>
                        <a:pt x="74" y="191"/>
                      </a:lnTo>
                      <a:lnTo>
                        <a:pt x="52" y="226"/>
                      </a:lnTo>
                      <a:lnTo>
                        <a:pt x="33" y="263"/>
                      </a:lnTo>
                      <a:lnTo>
                        <a:pt x="20" y="304"/>
                      </a:lnTo>
                      <a:lnTo>
                        <a:pt x="9" y="345"/>
                      </a:lnTo>
                      <a:lnTo>
                        <a:pt x="2" y="387"/>
                      </a:lnTo>
                      <a:lnTo>
                        <a:pt x="0" y="409"/>
                      </a:lnTo>
                      <a:lnTo>
                        <a:pt x="0" y="432"/>
                      </a:lnTo>
                      <a:lnTo>
                        <a:pt x="0" y="432"/>
                      </a:lnTo>
                      <a:lnTo>
                        <a:pt x="0" y="456"/>
                      </a:lnTo>
                      <a:lnTo>
                        <a:pt x="2" y="480"/>
                      </a:lnTo>
                      <a:lnTo>
                        <a:pt x="6" y="502"/>
                      </a:lnTo>
                      <a:lnTo>
                        <a:pt x="9" y="524"/>
                      </a:lnTo>
                      <a:lnTo>
                        <a:pt x="15" y="547"/>
                      </a:lnTo>
                      <a:lnTo>
                        <a:pt x="22" y="569"/>
                      </a:lnTo>
                      <a:lnTo>
                        <a:pt x="30" y="589"/>
                      </a:lnTo>
                      <a:lnTo>
                        <a:pt x="39" y="610"/>
                      </a:lnTo>
                      <a:lnTo>
                        <a:pt x="48" y="630"/>
                      </a:lnTo>
                      <a:lnTo>
                        <a:pt x="59" y="648"/>
                      </a:lnTo>
                      <a:lnTo>
                        <a:pt x="70" y="669"/>
                      </a:lnTo>
                      <a:lnTo>
                        <a:pt x="83" y="686"/>
                      </a:lnTo>
                      <a:lnTo>
                        <a:pt x="96" y="704"/>
                      </a:lnTo>
                      <a:lnTo>
                        <a:pt x="109" y="721"/>
                      </a:lnTo>
                      <a:lnTo>
                        <a:pt x="141" y="752"/>
                      </a:lnTo>
                      <a:lnTo>
                        <a:pt x="141" y="752"/>
                      </a:lnTo>
                      <a:lnTo>
                        <a:pt x="154" y="763"/>
                      </a:lnTo>
                      <a:lnTo>
                        <a:pt x="154" y="763"/>
                      </a:lnTo>
                      <a:lnTo>
                        <a:pt x="178" y="787"/>
                      </a:lnTo>
                      <a:lnTo>
                        <a:pt x="200" y="813"/>
                      </a:lnTo>
                      <a:lnTo>
                        <a:pt x="219" y="843"/>
                      </a:lnTo>
                      <a:lnTo>
                        <a:pt x="233" y="873"/>
                      </a:lnTo>
                      <a:lnTo>
                        <a:pt x="246" y="906"/>
                      </a:lnTo>
                      <a:lnTo>
                        <a:pt x="256" y="939"/>
                      </a:lnTo>
                      <a:lnTo>
                        <a:pt x="261" y="975"/>
                      </a:lnTo>
                      <a:lnTo>
                        <a:pt x="263" y="1012"/>
                      </a:lnTo>
                      <a:lnTo>
                        <a:pt x="263" y="1067"/>
                      </a:lnTo>
                      <a:lnTo>
                        <a:pt x="434" y="1067"/>
                      </a:lnTo>
                      <a:lnTo>
                        <a:pt x="602" y="1067"/>
                      </a:lnTo>
                      <a:lnTo>
                        <a:pt x="602" y="1012"/>
                      </a:lnTo>
                      <a:lnTo>
                        <a:pt x="602" y="1012"/>
                      </a:lnTo>
                      <a:lnTo>
                        <a:pt x="604" y="975"/>
                      </a:lnTo>
                      <a:lnTo>
                        <a:pt x="610" y="939"/>
                      </a:lnTo>
                      <a:lnTo>
                        <a:pt x="619" y="906"/>
                      </a:lnTo>
                      <a:lnTo>
                        <a:pt x="632" y="873"/>
                      </a:lnTo>
                      <a:lnTo>
                        <a:pt x="647" y="843"/>
                      </a:lnTo>
                      <a:lnTo>
                        <a:pt x="667" y="813"/>
                      </a:lnTo>
                      <a:lnTo>
                        <a:pt x="687" y="787"/>
                      </a:lnTo>
                      <a:lnTo>
                        <a:pt x="711" y="763"/>
                      </a:lnTo>
                      <a:lnTo>
                        <a:pt x="711" y="763"/>
                      </a:lnTo>
                      <a:lnTo>
                        <a:pt x="724" y="752"/>
                      </a:lnTo>
                      <a:lnTo>
                        <a:pt x="724" y="752"/>
                      </a:lnTo>
                      <a:lnTo>
                        <a:pt x="756" y="721"/>
                      </a:lnTo>
                      <a:lnTo>
                        <a:pt x="769" y="704"/>
                      </a:lnTo>
                      <a:lnTo>
                        <a:pt x="784" y="686"/>
                      </a:lnTo>
                      <a:lnTo>
                        <a:pt x="795" y="669"/>
                      </a:lnTo>
                      <a:lnTo>
                        <a:pt x="808" y="648"/>
                      </a:lnTo>
                      <a:lnTo>
                        <a:pt x="817" y="630"/>
                      </a:lnTo>
                      <a:lnTo>
                        <a:pt x="828" y="610"/>
                      </a:lnTo>
                      <a:lnTo>
                        <a:pt x="836" y="589"/>
                      </a:lnTo>
                      <a:lnTo>
                        <a:pt x="843" y="569"/>
                      </a:lnTo>
                      <a:lnTo>
                        <a:pt x="850" y="547"/>
                      </a:lnTo>
                      <a:lnTo>
                        <a:pt x="856" y="524"/>
                      </a:lnTo>
                      <a:lnTo>
                        <a:pt x="860" y="502"/>
                      </a:lnTo>
                      <a:lnTo>
                        <a:pt x="863" y="480"/>
                      </a:lnTo>
                      <a:lnTo>
                        <a:pt x="865" y="456"/>
                      </a:lnTo>
                      <a:lnTo>
                        <a:pt x="865" y="432"/>
                      </a:lnTo>
                      <a:lnTo>
                        <a:pt x="865" y="432"/>
                      </a:lnTo>
                      <a:lnTo>
                        <a:pt x="865" y="409"/>
                      </a:lnTo>
                      <a:lnTo>
                        <a:pt x="863" y="387"/>
                      </a:lnTo>
                      <a:lnTo>
                        <a:pt x="856" y="345"/>
                      </a:lnTo>
                      <a:lnTo>
                        <a:pt x="847" y="304"/>
                      </a:lnTo>
                      <a:lnTo>
                        <a:pt x="832" y="263"/>
                      </a:lnTo>
                      <a:lnTo>
                        <a:pt x="813" y="226"/>
                      </a:lnTo>
                      <a:lnTo>
                        <a:pt x="791" y="191"/>
                      </a:lnTo>
                      <a:lnTo>
                        <a:pt x="767" y="158"/>
                      </a:lnTo>
                      <a:lnTo>
                        <a:pt x="739" y="126"/>
                      </a:lnTo>
                      <a:lnTo>
                        <a:pt x="708" y="98"/>
                      </a:lnTo>
                      <a:lnTo>
                        <a:pt x="674" y="74"/>
                      </a:lnTo>
                      <a:lnTo>
                        <a:pt x="639" y="52"/>
                      </a:lnTo>
                      <a:lnTo>
                        <a:pt x="600" y="33"/>
                      </a:lnTo>
                      <a:lnTo>
                        <a:pt x="561" y="19"/>
                      </a:lnTo>
                      <a:lnTo>
                        <a:pt x="521" y="7"/>
                      </a:lnTo>
                      <a:lnTo>
                        <a:pt x="476" y="2"/>
                      </a:lnTo>
                      <a:lnTo>
                        <a:pt x="456" y="0"/>
                      </a:lnTo>
                      <a:lnTo>
                        <a:pt x="434" y="0"/>
                      </a:lnTo>
                      <a:lnTo>
                        <a:pt x="434" y="0"/>
                      </a:lnTo>
                      <a:close/>
                    </a:path>
                  </a:pathLst>
                </a:custGeom>
                <a:solidFill>
                  <a:srgbClr val="FDD300"/>
                </a:solidFill>
                <a:ln w="222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9" name="Freeform 241">
                  <a:extLst>
                    <a:ext uri="{FF2B5EF4-FFF2-40B4-BE49-F238E27FC236}">
                      <a16:creationId xmlns:a16="http://schemas.microsoft.com/office/drawing/2014/main" id="{48363F46-C1B1-4332-8335-A2F8F0FAF7A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275638" y="4079876"/>
                  <a:ext cx="585788" cy="333375"/>
                </a:xfrm>
                <a:custGeom>
                  <a:avLst/>
                  <a:gdLst>
                    <a:gd name="T0" fmla="*/ 369 w 369"/>
                    <a:gd name="T1" fmla="*/ 210 h 210"/>
                    <a:gd name="T2" fmla="*/ 0 w 369"/>
                    <a:gd name="T3" fmla="*/ 210 h 210"/>
                    <a:gd name="T4" fmla="*/ 0 w 369"/>
                    <a:gd name="T5" fmla="*/ 0 h 210"/>
                    <a:gd name="T6" fmla="*/ 369 w 369"/>
                    <a:gd name="T7" fmla="*/ 0 h 210"/>
                    <a:gd name="T8" fmla="*/ 369 w 369"/>
                    <a:gd name="T9" fmla="*/ 210 h 210"/>
                    <a:gd name="T10" fmla="*/ 30 w 369"/>
                    <a:gd name="T11" fmla="*/ 180 h 210"/>
                    <a:gd name="T12" fmla="*/ 339 w 369"/>
                    <a:gd name="T13" fmla="*/ 180 h 210"/>
                    <a:gd name="T14" fmla="*/ 339 w 369"/>
                    <a:gd name="T15" fmla="*/ 32 h 210"/>
                    <a:gd name="T16" fmla="*/ 30 w 369"/>
                    <a:gd name="T17" fmla="*/ 32 h 210"/>
                    <a:gd name="T18" fmla="*/ 30 w 369"/>
                    <a:gd name="T19" fmla="*/ 180 h 2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69" h="210">
                      <a:moveTo>
                        <a:pt x="369" y="210"/>
                      </a:moveTo>
                      <a:lnTo>
                        <a:pt x="0" y="210"/>
                      </a:lnTo>
                      <a:lnTo>
                        <a:pt x="0" y="0"/>
                      </a:lnTo>
                      <a:lnTo>
                        <a:pt x="369" y="0"/>
                      </a:lnTo>
                      <a:lnTo>
                        <a:pt x="369" y="210"/>
                      </a:lnTo>
                      <a:close/>
                      <a:moveTo>
                        <a:pt x="30" y="180"/>
                      </a:moveTo>
                      <a:lnTo>
                        <a:pt x="339" y="180"/>
                      </a:lnTo>
                      <a:lnTo>
                        <a:pt x="339" y="32"/>
                      </a:lnTo>
                      <a:lnTo>
                        <a:pt x="30" y="32"/>
                      </a:lnTo>
                      <a:lnTo>
                        <a:pt x="30" y="18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20" name="Rectangle 19">
                  <a:extLst>
                    <a:ext uri="{FF2B5EF4-FFF2-40B4-BE49-F238E27FC236}">
                      <a16:creationId xmlns:a16="http://schemas.microsoft.com/office/drawing/2014/main" id="{44F504D5-7A7E-4ACC-BCF5-A92044FCFA7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250238" y="4079876"/>
                  <a:ext cx="638175" cy="50800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21" name="Rectangle 20">
                  <a:extLst>
                    <a:ext uri="{FF2B5EF4-FFF2-40B4-BE49-F238E27FC236}">
                      <a16:creationId xmlns:a16="http://schemas.microsoft.com/office/drawing/2014/main" id="{C1CBD50D-402F-4749-99F6-343DEE0C6B5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250238" y="4175126"/>
                  <a:ext cx="638175" cy="49213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22" name="Rectangle 21">
                  <a:extLst>
                    <a:ext uri="{FF2B5EF4-FFF2-40B4-BE49-F238E27FC236}">
                      <a16:creationId xmlns:a16="http://schemas.microsoft.com/office/drawing/2014/main" id="{AF44BB8C-3666-440F-AA8D-1F244442274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250238" y="4271963"/>
                  <a:ext cx="638175" cy="46038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23" name="Rectangle 22">
                  <a:extLst>
                    <a:ext uri="{FF2B5EF4-FFF2-40B4-BE49-F238E27FC236}">
                      <a16:creationId xmlns:a16="http://schemas.microsoft.com/office/drawing/2014/main" id="{E9F10FF6-3852-4486-BFA3-65DD08A32BF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250238" y="4365626"/>
                  <a:ext cx="638175" cy="47625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24" name="Freeform 246">
                  <a:extLst>
                    <a:ext uri="{FF2B5EF4-FFF2-40B4-BE49-F238E27FC236}">
                      <a16:creationId xmlns:a16="http://schemas.microsoft.com/office/drawing/2014/main" id="{FA179A60-74EB-4200-9514-9AD1B05F8A6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443913" y="4365626"/>
                  <a:ext cx="249238" cy="155575"/>
                </a:xfrm>
                <a:custGeom>
                  <a:avLst/>
                  <a:gdLst>
                    <a:gd name="T0" fmla="*/ 157 w 157"/>
                    <a:gd name="T1" fmla="*/ 98 h 98"/>
                    <a:gd name="T2" fmla="*/ 0 w 157"/>
                    <a:gd name="T3" fmla="*/ 98 h 98"/>
                    <a:gd name="T4" fmla="*/ 0 w 157"/>
                    <a:gd name="T5" fmla="*/ 0 h 98"/>
                    <a:gd name="T6" fmla="*/ 157 w 157"/>
                    <a:gd name="T7" fmla="*/ 0 h 98"/>
                    <a:gd name="T8" fmla="*/ 157 w 157"/>
                    <a:gd name="T9" fmla="*/ 98 h 98"/>
                    <a:gd name="T10" fmla="*/ 30 w 157"/>
                    <a:gd name="T11" fmla="*/ 69 h 98"/>
                    <a:gd name="T12" fmla="*/ 128 w 157"/>
                    <a:gd name="T13" fmla="*/ 69 h 98"/>
                    <a:gd name="T14" fmla="*/ 128 w 157"/>
                    <a:gd name="T15" fmla="*/ 30 h 98"/>
                    <a:gd name="T16" fmla="*/ 30 w 157"/>
                    <a:gd name="T17" fmla="*/ 30 h 98"/>
                    <a:gd name="T18" fmla="*/ 30 w 157"/>
                    <a:gd name="T19" fmla="*/ 69 h 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57" h="98">
                      <a:moveTo>
                        <a:pt x="157" y="98"/>
                      </a:moveTo>
                      <a:lnTo>
                        <a:pt x="0" y="98"/>
                      </a:lnTo>
                      <a:lnTo>
                        <a:pt x="0" y="0"/>
                      </a:lnTo>
                      <a:lnTo>
                        <a:pt x="157" y="0"/>
                      </a:lnTo>
                      <a:lnTo>
                        <a:pt x="157" y="98"/>
                      </a:lnTo>
                      <a:close/>
                      <a:moveTo>
                        <a:pt x="30" y="69"/>
                      </a:moveTo>
                      <a:lnTo>
                        <a:pt x="128" y="69"/>
                      </a:lnTo>
                      <a:lnTo>
                        <a:pt x="128" y="30"/>
                      </a:lnTo>
                      <a:lnTo>
                        <a:pt x="30" y="30"/>
                      </a:lnTo>
                      <a:lnTo>
                        <a:pt x="30" y="69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25" name="Rectangle 24">
                  <a:extLst>
                    <a:ext uri="{FF2B5EF4-FFF2-40B4-BE49-F238E27FC236}">
                      <a16:creationId xmlns:a16="http://schemas.microsoft.com/office/drawing/2014/main" id="{A955F91C-F774-4BF6-AEB1-17203468239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3471863"/>
                  <a:ext cx="49213" cy="631825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26" name="Freeform 248">
                  <a:extLst>
                    <a:ext uri="{FF2B5EF4-FFF2-40B4-BE49-F238E27FC236}">
                      <a16:creationId xmlns:a16="http://schemas.microsoft.com/office/drawing/2014/main" id="{20BA89EC-750D-4B3D-8770-1E27FD8E862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375651" y="2968626"/>
                  <a:ext cx="385763" cy="255588"/>
                </a:xfrm>
                <a:custGeom>
                  <a:avLst/>
                  <a:gdLst>
                    <a:gd name="T0" fmla="*/ 145 w 243"/>
                    <a:gd name="T1" fmla="*/ 161 h 161"/>
                    <a:gd name="T2" fmla="*/ 98 w 243"/>
                    <a:gd name="T3" fmla="*/ 69 h 161"/>
                    <a:gd name="T4" fmla="*/ 85 w 243"/>
                    <a:gd name="T5" fmla="*/ 95 h 161"/>
                    <a:gd name="T6" fmla="*/ 0 w 243"/>
                    <a:gd name="T7" fmla="*/ 95 h 161"/>
                    <a:gd name="T8" fmla="*/ 0 w 243"/>
                    <a:gd name="T9" fmla="*/ 65 h 161"/>
                    <a:gd name="T10" fmla="*/ 65 w 243"/>
                    <a:gd name="T11" fmla="*/ 65 h 161"/>
                    <a:gd name="T12" fmla="*/ 98 w 243"/>
                    <a:gd name="T13" fmla="*/ 0 h 161"/>
                    <a:gd name="T14" fmla="*/ 145 w 243"/>
                    <a:gd name="T15" fmla="*/ 93 h 161"/>
                    <a:gd name="T16" fmla="*/ 160 w 243"/>
                    <a:gd name="T17" fmla="*/ 65 h 161"/>
                    <a:gd name="T18" fmla="*/ 243 w 243"/>
                    <a:gd name="T19" fmla="*/ 65 h 161"/>
                    <a:gd name="T20" fmla="*/ 243 w 243"/>
                    <a:gd name="T21" fmla="*/ 95 h 161"/>
                    <a:gd name="T22" fmla="*/ 178 w 243"/>
                    <a:gd name="T23" fmla="*/ 95 h 161"/>
                    <a:gd name="T24" fmla="*/ 145 w 243"/>
                    <a:gd name="T25" fmla="*/ 161 h 1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43" h="161">
                      <a:moveTo>
                        <a:pt x="145" y="161"/>
                      </a:moveTo>
                      <a:lnTo>
                        <a:pt x="98" y="69"/>
                      </a:lnTo>
                      <a:lnTo>
                        <a:pt x="85" y="95"/>
                      </a:lnTo>
                      <a:lnTo>
                        <a:pt x="0" y="95"/>
                      </a:lnTo>
                      <a:lnTo>
                        <a:pt x="0" y="65"/>
                      </a:lnTo>
                      <a:lnTo>
                        <a:pt x="65" y="65"/>
                      </a:lnTo>
                      <a:lnTo>
                        <a:pt x="98" y="0"/>
                      </a:lnTo>
                      <a:lnTo>
                        <a:pt x="145" y="93"/>
                      </a:lnTo>
                      <a:lnTo>
                        <a:pt x="160" y="65"/>
                      </a:lnTo>
                      <a:lnTo>
                        <a:pt x="243" y="65"/>
                      </a:lnTo>
                      <a:lnTo>
                        <a:pt x="243" y="95"/>
                      </a:lnTo>
                      <a:lnTo>
                        <a:pt x="178" y="95"/>
                      </a:lnTo>
                      <a:lnTo>
                        <a:pt x="145" y="161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27" name="Freeform 249">
                  <a:extLst>
                    <a:ext uri="{FF2B5EF4-FFF2-40B4-BE49-F238E27FC236}">
                      <a16:creationId xmlns:a16="http://schemas.microsoft.com/office/drawing/2014/main" id="{AD70F6AF-71A7-4E8D-89D2-5EB9A9290F3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334376" y="3121026"/>
                  <a:ext cx="468313" cy="395288"/>
                </a:xfrm>
                <a:custGeom>
                  <a:avLst/>
                  <a:gdLst>
                    <a:gd name="T0" fmla="*/ 149 w 295"/>
                    <a:gd name="T1" fmla="*/ 249 h 249"/>
                    <a:gd name="T2" fmla="*/ 0 w 295"/>
                    <a:gd name="T3" fmla="*/ 17 h 249"/>
                    <a:gd name="T4" fmla="*/ 26 w 295"/>
                    <a:gd name="T5" fmla="*/ 0 h 249"/>
                    <a:gd name="T6" fmla="*/ 149 w 295"/>
                    <a:gd name="T7" fmla="*/ 193 h 249"/>
                    <a:gd name="T8" fmla="*/ 269 w 295"/>
                    <a:gd name="T9" fmla="*/ 0 h 249"/>
                    <a:gd name="T10" fmla="*/ 295 w 295"/>
                    <a:gd name="T11" fmla="*/ 17 h 249"/>
                    <a:gd name="T12" fmla="*/ 149 w 295"/>
                    <a:gd name="T13" fmla="*/ 249 h 2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95" h="249">
                      <a:moveTo>
                        <a:pt x="149" y="249"/>
                      </a:moveTo>
                      <a:lnTo>
                        <a:pt x="0" y="17"/>
                      </a:lnTo>
                      <a:lnTo>
                        <a:pt x="26" y="0"/>
                      </a:lnTo>
                      <a:lnTo>
                        <a:pt x="149" y="193"/>
                      </a:lnTo>
                      <a:lnTo>
                        <a:pt x="269" y="0"/>
                      </a:lnTo>
                      <a:lnTo>
                        <a:pt x="295" y="17"/>
                      </a:lnTo>
                      <a:lnTo>
                        <a:pt x="149" y="249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28" name="Freeform 250">
                  <a:extLst>
                    <a:ext uri="{FF2B5EF4-FFF2-40B4-BE49-F238E27FC236}">
                      <a16:creationId xmlns:a16="http://schemas.microsoft.com/office/drawing/2014/main" id="{C73B7F44-808D-4D7E-B6A4-2F8A7035192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255001" y="3024188"/>
                  <a:ext cx="144463" cy="144463"/>
                </a:xfrm>
                <a:custGeom>
                  <a:avLst/>
                  <a:gdLst>
                    <a:gd name="T0" fmla="*/ 47 w 91"/>
                    <a:gd name="T1" fmla="*/ 91 h 91"/>
                    <a:gd name="T2" fmla="*/ 47 w 91"/>
                    <a:gd name="T3" fmla="*/ 91 h 91"/>
                    <a:gd name="T4" fmla="*/ 37 w 91"/>
                    <a:gd name="T5" fmla="*/ 89 h 91"/>
                    <a:gd name="T6" fmla="*/ 28 w 91"/>
                    <a:gd name="T7" fmla="*/ 87 h 91"/>
                    <a:gd name="T8" fmla="*/ 21 w 91"/>
                    <a:gd name="T9" fmla="*/ 84 h 91"/>
                    <a:gd name="T10" fmla="*/ 13 w 91"/>
                    <a:gd name="T11" fmla="*/ 78 h 91"/>
                    <a:gd name="T12" fmla="*/ 8 w 91"/>
                    <a:gd name="T13" fmla="*/ 71 h 91"/>
                    <a:gd name="T14" fmla="*/ 4 w 91"/>
                    <a:gd name="T15" fmla="*/ 63 h 91"/>
                    <a:gd name="T16" fmla="*/ 2 w 91"/>
                    <a:gd name="T17" fmla="*/ 54 h 91"/>
                    <a:gd name="T18" fmla="*/ 0 w 91"/>
                    <a:gd name="T19" fmla="*/ 45 h 91"/>
                    <a:gd name="T20" fmla="*/ 0 w 91"/>
                    <a:gd name="T21" fmla="*/ 45 h 91"/>
                    <a:gd name="T22" fmla="*/ 2 w 91"/>
                    <a:gd name="T23" fmla="*/ 35 h 91"/>
                    <a:gd name="T24" fmla="*/ 4 w 91"/>
                    <a:gd name="T25" fmla="*/ 28 h 91"/>
                    <a:gd name="T26" fmla="*/ 8 w 91"/>
                    <a:gd name="T27" fmla="*/ 21 h 91"/>
                    <a:gd name="T28" fmla="*/ 13 w 91"/>
                    <a:gd name="T29" fmla="*/ 13 h 91"/>
                    <a:gd name="T30" fmla="*/ 21 w 91"/>
                    <a:gd name="T31" fmla="*/ 8 h 91"/>
                    <a:gd name="T32" fmla="*/ 28 w 91"/>
                    <a:gd name="T33" fmla="*/ 4 h 91"/>
                    <a:gd name="T34" fmla="*/ 37 w 91"/>
                    <a:gd name="T35" fmla="*/ 0 h 91"/>
                    <a:gd name="T36" fmla="*/ 47 w 91"/>
                    <a:gd name="T37" fmla="*/ 0 h 91"/>
                    <a:gd name="T38" fmla="*/ 47 w 91"/>
                    <a:gd name="T39" fmla="*/ 0 h 91"/>
                    <a:gd name="T40" fmla="*/ 56 w 91"/>
                    <a:gd name="T41" fmla="*/ 0 h 91"/>
                    <a:gd name="T42" fmla="*/ 63 w 91"/>
                    <a:gd name="T43" fmla="*/ 4 h 91"/>
                    <a:gd name="T44" fmla="*/ 73 w 91"/>
                    <a:gd name="T45" fmla="*/ 8 h 91"/>
                    <a:gd name="T46" fmla="*/ 78 w 91"/>
                    <a:gd name="T47" fmla="*/ 13 h 91"/>
                    <a:gd name="T48" fmla="*/ 84 w 91"/>
                    <a:gd name="T49" fmla="*/ 21 h 91"/>
                    <a:gd name="T50" fmla="*/ 87 w 91"/>
                    <a:gd name="T51" fmla="*/ 28 h 91"/>
                    <a:gd name="T52" fmla="*/ 91 w 91"/>
                    <a:gd name="T53" fmla="*/ 35 h 91"/>
                    <a:gd name="T54" fmla="*/ 91 w 91"/>
                    <a:gd name="T55" fmla="*/ 45 h 91"/>
                    <a:gd name="T56" fmla="*/ 91 w 91"/>
                    <a:gd name="T57" fmla="*/ 45 h 91"/>
                    <a:gd name="T58" fmla="*/ 91 w 91"/>
                    <a:gd name="T59" fmla="*/ 54 h 91"/>
                    <a:gd name="T60" fmla="*/ 87 w 91"/>
                    <a:gd name="T61" fmla="*/ 63 h 91"/>
                    <a:gd name="T62" fmla="*/ 84 w 91"/>
                    <a:gd name="T63" fmla="*/ 71 h 91"/>
                    <a:gd name="T64" fmla="*/ 78 w 91"/>
                    <a:gd name="T65" fmla="*/ 78 h 91"/>
                    <a:gd name="T66" fmla="*/ 73 w 91"/>
                    <a:gd name="T67" fmla="*/ 84 h 91"/>
                    <a:gd name="T68" fmla="*/ 63 w 91"/>
                    <a:gd name="T69" fmla="*/ 87 h 91"/>
                    <a:gd name="T70" fmla="*/ 56 w 91"/>
                    <a:gd name="T71" fmla="*/ 89 h 91"/>
                    <a:gd name="T72" fmla="*/ 47 w 91"/>
                    <a:gd name="T73" fmla="*/ 91 h 91"/>
                    <a:gd name="T74" fmla="*/ 47 w 91"/>
                    <a:gd name="T75" fmla="*/ 91 h 91"/>
                    <a:gd name="T76" fmla="*/ 47 w 91"/>
                    <a:gd name="T77" fmla="*/ 30 h 91"/>
                    <a:gd name="T78" fmla="*/ 47 w 91"/>
                    <a:gd name="T79" fmla="*/ 30 h 91"/>
                    <a:gd name="T80" fmla="*/ 41 w 91"/>
                    <a:gd name="T81" fmla="*/ 32 h 91"/>
                    <a:gd name="T82" fmla="*/ 35 w 91"/>
                    <a:gd name="T83" fmla="*/ 35 h 91"/>
                    <a:gd name="T84" fmla="*/ 32 w 91"/>
                    <a:gd name="T85" fmla="*/ 39 h 91"/>
                    <a:gd name="T86" fmla="*/ 32 w 91"/>
                    <a:gd name="T87" fmla="*/ 45 h 91"/>
                    <a:gd name="T88" fmla="*/ 32 w 91"/>
                    <a:gd name="T89" fmla="*/ 45 h 91"/>
                    <a:gd name="T90" fmla="*/ 32 w 91"/>
                    <a:gd name="T91" fmla="*/ 50 h 91"/>
                    <a:gd name="T92" fmla="*/ 35 w 91"/>
                    <a:gd name="T93" fmla="*/ 56 h 91"/>
                    <a:gd name="T94" fmla="*/ 41 w 91"/>
                    <a:gd name="T95" fmla="*/ 60 h 91"/>
                    <a:gd name="T96" fmla="*/ 47 w 91"/>
                    <a:gd name="T97" fmla="*/ 60 h 91"/>
                    <a:gd name="T98" fmla="*/ 47 w 91"/>
                    <a:gd name="T99" fmla="*/ 60 h 91"/>
                    <a:gd name="T100" fmla="*/ 52 w 91"/>
                    <a:gd name="T101" fmla="*/ 60 h 91"/>
                    <a:gd name="T102" fmla="*/ 58 w 91"/>
                    <a:gd name="T103" fmla="*/ 56 h 91"/>
                    <a:gd name="T104" fmla="*/ 60 w 91"/>
                    <a:gd name="T105" fmla="*/ 50 h 91"/>
                    <a:gd name="T106" fmla="*/ 61 w 91"/>
                    <a:gd name="T107" fmla="*/ 45 h 91"/>
                    <a:gd name="T108" fmla="*/ 61 w 91"/>
                    <a:gd name="T109" fmla="*/ 45 h 91"/>
                    <a:gd name="T110" fmla="*/ 60 w 91"/>
                    <a:gd name="T111" fmla="*/ 39 h 91"/>
                    <a:gd name="T112" fmla="*/ 58 w 91"/>
                    <a:gd name="T113" fmla="*/ 35 h 91"/>
                    <a:gd name="T114" fmla="*/ 52 w 91"/>
                    <a:gd name="T115" fmla="*/ 32 h 91"/>
                    <a:gd name="T116" fmla="*/ 47 w 91"/>
                    <a:gd name="T117" fmla="*/ 30 h 91"/>
                    <a:gd name="T118" fmla="*/ 47 w 91"/>
                    <a:gd name="T119" fmla="*/ 30 h 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91" h="91">
                      <a:moveTo>
                        <a:pt x="47" y="91"/>
                      </a:moveTo>
                      <a:lnTo>
                        <a:pt x="47" y="91"/>
                      </a:lnTo>
                      <a:lnTo>
                        <a:pt x="37" y="89"/>
                      </a:lnTo>
                      <a:lnTo>
                        <a:pt x="28" y="87"/>
                      </a:lnTo>
                      <a:lnTo>
                        <a:pt x="21" y="84"/>
                      </a:lnTo>
                      <a:lnTo>
                        <a:pt x="13" y="78"/>
                      </a:lnTo>
                      <a:lnTo>
                        <a:pt x="8" y="71"/>
                      </a:lnTo>
                      <a:lnTo>
                        <a:pt x="4" y="63"/>
                      </a:lnTo>
                      <a:lnTo>
                        <a:pt x="2" y="54"/>
                      </a:lnTo>
                      <a:lnTo>
                        <a:pt x="0" y="45"/>
                      </a:lnTo>
                      <a:lnTo>
                        <a:pt x="0" y="45"/>
                      </a:lnTo>
                      <a:lnTo>
                        <a:pt x="2" y="35"/>
                      </a:lnTo>
                      <a:lnTo>
                        <a:pt x="4" y="28"/>
                      </a:lnTo>
                      <a:lnTo>
                        <a:pt x="8" y="21"/>
                      </a:lnTo>
                      <a:lnTo>
                        <a:pt x="13" y="13"/>
                      </a:lnTo>
                      <a:lnTo>
                        <a:pt x="21" y="8"/>
                      </a:lnTo>
                      <a:lnTo>
                        <a:pt x="28" y="4"/>
                      </a:lnTo>
                      <a:lnTo>
                        <a:pt x="37" y="0"/>
                      </a:lnTo>
                      <a:lnTo>
                        <a:pt x="47" y="0"/>
                      </a:lnTo>
                      <a:lnTo>
                        <a:pt x="47" y="0"/>
                      </a:lnTo>
                      <a:lnTo>
                        <a:pt x="56" y="0"/>
                      </a:lnTo>
                      <a:lnTo>
                        <a:pt x="63" y="4"/>
                      </a:lnTo>
                      <a:lnTo>
                        <a:pt x="73" y="8"/>
                      </a:lnTo>
                      <a:lnTo>
                        <a:pt x="78" y="13"/>
                      </a:lnTo>
                      <a:lnTo>
                        <a:pt x="84" y="21"/>
                      </a:lnTo>
                      <a:lnTo>
                        <a:pt x="87" y="28"/>
                      </a:lnTo>
                      <a:lnTo>
                        <a:pt x="91" y="35"/>
                      </a:lnTo>
                      <a:lnTo>
                        <a:pt x="91" y="45"/>
                      </a:lnTo>
                      <a:lnTo>
                        <a:pt x="91" y="45"/>
                      </a:lnTo>
                      <a:lnTo>
                        <a:pt x="91" y="54"/>
                      </a:lnTo>
                      <a:lnTo>
                        <a:pt x="87" y="63"/>
                      </a:lnTo>
                      <a:lnTo>
                        <a:pt x="84" y="71"/>
                      </a:lnTo>
                      <a:lnTo>
                        <a:pt x="78" y="78"/>
                      </a:lnTo>
                      <a:lnTo>
                        <a:pt x="73" y="84"/>
                      </a:lnTo>
                      <a:lnTo>
                        <a:pt x="63" y="87"/>
                      </a:lnTo>
                      <a:lnTo>
                        <a:pt x="56" y="89"/>
                      </a:lnTo>
                      <a:lnTo>
                        <a:pt x="47" y="91"/>
                      </a:lnTo>
                      <a:lnTo>
                        <a:pt x="47" y="91"/>
                      </a:lnTo>
                      <a:close/>
                      <a:moveTo>
                        <a:pt x="47" y="30"/>
                      </a:moveTo>
                      <a:lnTo>
                        <a:pt x="47" y="30"/>
                      </a:lnTo>
                      <a:lnTo>
                        <a:pt x="41" y="32"/>
                      </a:lnTo>
                      <a:lnTo>
                        <a:pt x="35" y="35"/>
                      </a:lnTo>
                      <a:lnTo>
                        <a:pt x="32" y="39"/>
                      </a:lnTo>
                      <a:lnTo>
                        <a:pt x="32" y="45"/>
                      </a:lnTo>
                      <a:lnTo>
                        <a:pt x="32" y="45"/>
                      </a:lnTo>
                      <a:lnTo>
                        <a:pt x="32" y="50"/>
                      </a:lnTo>
                      <a:lnTo>
                        <a:pt x="35" y="56"/>
                      </a:lnTo>
                      <a:lnTo>
                        <a:pt x="41" y="60"/>
                      </a:lnTo>
                      <a:lnTo>
                        <a:pt x="47" y="60"/>
                      </a:lnTo>
                      <a:lnTo>
                        <a:pt x="47" y="60"/>
                      </a:lnTo>
                      <a:lnTo>
                        <a:pt x="52" y="60"/>
                      </a:lnTo>
                      <a:lnTo>
                        <a:pt x="58" y="56"/>
                      </a:lnTo>
                      <a:lnTo>
                        <a:pt x="60" y="50"/>
                      </a:lnTo>
                      <a:lnTo>
                        <a:pt x="61" y="45"/>
                      </a:lnTo>
                      <a:lnTo>
                        <a:pt x="61" y="45"/>
                      </a:lnTo>
                      <a:lnTo>
                        <a:pt x="60" y="39"/>
                      </a:lnTo>
                      <a:lnTo>
                        <a:pt x="58" y="35"/>
                      </a:lnTo>
                      <a:lnTo>
                        <a:pt x="52" y="32"/>
                      </a:lnTo>
                      <a:lnTo>
                        <a:pt x="47" y="30"/>
                      </a:lnTo>
                      <a:lnTo>
                        <a:pt x="47" y="3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29" name="Freeform 251">
                  <a:extLst>
                    <a:ext uri="{FF2B5EF4-FFF2-40B4-BE49-F238E27FC236}">
                      <a16:creationId xmlns:a16="http://schemas.microsoft.com/office/drawing/2014/main" id="{8912995F-B8C5-4317-80BC-C331A0BFC16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737601" y="3024188"/>
                  <a:ext cx="144463" cy="144463"/>
                </a:xfrm>
                <a:custGeom>
                  <a:avLst/>
                  <a:gdLst>
                    <a:gd name="T0" fmla="*/ 45 w 91"/>
                    <a:gd name="T1" fmla="*/ 91 h 91"/>
                    <a:gd name="T2" fmla="*/ 45 w 91"/>
                    <a:gd name="T3" fmla="*/ 91 h 91"/>
                    <a:gd name="T4" fmla="*/ 35 w 91"/>
                    <a:gd name="T5" fmla="*/ 89 h 91"/>
                    <a:gd name="T6" fmla="*/ 28 w 91"/>
                    <a:gd name="T7" fmla="*/ 87 h 91"/>
                    <a:gd name="T8" fmla="*/ 21 w 91"/>
                    <a:gd name="T9" fmla="*/ 84 h 91"/>
                    <a:gd name="T10" fmla="*/ 13 w 91"/>
                    <a:gd name="T11" fmla="*/ 78 h 91"/>
                    <a:gd name="T12" fmla="*/ 8 w 91"/>
                    <a:gd name="T13" fmla="*/ 71 h 91"/>
                    <a:gd name="T14" fmla="*/ 4 w 91"/>
                    <a:gd name="T15" fmla="*/ 63 h 91"/>
                    <a:gd name="T16" fmla="*/ 0 w 91"/>
                    <a:gd name="T17" fmla="*/ 54 h 91"/>
                    <a:gd name="T18" fmla="*/ 0 w 91"/>
                    <a:gd name="T19" fmla="*/ 45 h 91"/>
                    <a:gd name="T20" fmla="*/ 0 w 91"/>
                    <a:gd name="T21" fmla="*/ 45 h 91"/>
                    <a:gd name="T22" fmla="*/ 0 w 91"/>
                    <a:gd name="T23" fmla="*/ 35 h 91"/>
                    <a:gd name="T24" fmla="*/ 4 w 91"/>
                    <a:gd name="T25" fmla="*/ 28 h 91"/>
                    <a:gd name="T26" fmla="*/ 8 w 91"/>
                    <a:gd name="T27" fmla="*/ 21 h 91"/>
                    <a:gd name="T28" fmla="*/ 13 w 91"/>
                    <a:gd name="T29" fmla="*/ 13 h 91"/>
                    <a:gd name="T30" fmla="*/ 21 w 91"/>
                    <a:gd name="T31" fmla="*/ 8 h 91"/>
                    <a:gd name="T32" fmla="*/ 28 w 91"/>
                    <a:gd name="T33" fmla="*/ 4 h 91"/>
                    <a:gd name="T34" fmla="*/ 35 w 91"/>
                    <a:gd name="T35" fmla="*/ 0 h 91"/>
                    <a:gd name="T36" fmla="*/ 45 w 91"/>
                    <a:gd name="T37" fmla="*/ 0 h 91"/>
                    <a:gd name="T38" fmla="*/ 45 w 91"/>
                    <a:gd name="T39" fmla="*/ 0 h 91"/>
                    <a:gd name="T40" fmla="*/ 54 w 91"/>
                    <a:gd name="T41" fmla="*/ 0 h 91"/>
                    <a:gd name="T42" fmla="*/ 63 w 91"/>
                    <a:gd name="T43" fmla="*/ 4 h 91"/>
                    <a:gd name="T44" fmla="*/ 71 w 91"/>
                    <a:gd name="T45" fmla="*/ 8 h 91"/>
                    <a:gd name="T46" fmla="*/ 78 w 91"/>
                    <a:gd name="T47" fmla="*/ 13 h 91"/>
                    <a:gd name="T48" fmla="*/ 84 w 91"/>
                    <a:gd name="T49" fmla="*/ 21 h 91"/>
                    <a:gd name="T50" fmla="*/ 87 w 91"/>
                    <a:gd name="T51" fmla="*/ 28 h 91"/>
                    <a:gd name="T52" fmla="*/ 89 w 91"/>
                    <a:gd name="T53" fmla="*/ 35 h 91"/>
                    <a:gd name="T54" fmla="*/ 91 w 91"/>
                    <a:gd name="T55" fmla="*/ 45 h 91"/>
                    <a:gd name="T56" fmla="*/ 91 w 91"/>
                    <a:gd name="T57" fmla="*/ 45 h 91"/>
                    <a:gd name="T58" fmla="*/ 89 w 91"/>
                    <a:gd name="T59" fmla="*/ 54 h 91"/>
                    <a:gd name="T60" fmla="*/ 87 w 91"/>
                    <a:gd name="T61" fmla="*/ 63 h 91"/>
                    <a:gd name="T62" fmla="*/ 84 w 91"/>
                    <a:gd name="T63" fmla="*/ 71 h 91"/>
                    <a:gd name="T64" fmla="*/ 78 w 91"/>
                    <a:gd name="T65" fmla="*/ 78 h 91"/>
                    <a:gd name="T66" fmla="*/ 71 w 91"/>
                    <a:gd name="T67" fmla="*/ 84 h 91"/>
                    <a:gd name="T68" fmla="*/ 63 w 91"/>
                    <a:gd name="T69" fmla="*/ 87 h 91"/>
                    <a:gd name="T70" fmla="*/ 54 w 91"/>
                    <a:gd name="T71" fmla="*/ 89 h 91"/>
                    <a:gd name="T72" fmla="*/ 45 w 91"/>
                    <a:gd name="T73" fmla="*/ 91 h 91"/>
                    <a:gd name="T74" fmla="*/ 45 w 91"/>
                    <a:gd name="T75" fmla="*/ 91 h 91"/>
                    <a:gd name="T76" fmla="*/ 45 w 91"/>
                    <a:gd name="T77" fmla="*/ 30 h 91"/>
                    <a:gd name="T78" fmla="*/ 45 w 91"/>
                    <a:gd name="T79" fmla="*/ 30 h 91"/>
                    <a:gd name="T80" fmla="*/ 39 w 91"/>
                    <a:gd name="T81" fmla="*/ 32 h 91"/>
                    <a:gd name="T82" fmla="*/ 35 w 91"/>
                    <a:gd name="T83" fmla="*/ 35 h 91"/>
                    <a:gd name="T84" fmla="*/ 32 w 91"/>
                    <a:gd name="T85" fmla="*/ 39 h 91"/>
                    <a:gd name="T86" fmla="*/ 30 w 91"/>
                    <a:gd name="T87" fmla="*/ 45 h 91"/>
                    <a:gd name="T88" fmla="*/ 30 w 91"/>
                    <a:gd name="T89" fmla="*/ 45 h 91"/>
                    <a:gd name="T90" fmla="*/ 32 w 91"/>
                    <a:gd name="T91" fmla="*/ 50 h 91"/>
                    <a:gd name="T92" fmla="*/ 35 w 91"/>
                    <a:gd name="T93" fmla="*/ 56 h 91"/>
                    <a:gd name="T94" fmla="*/ 39 w 91"/>
                    <a:gd name="T95" fmla="*/ 60 h 91"/>
                    <a:gd name="T96" fmla="*/ 45 w 91"/>
                    <a:gd name="T97" fmla="*/ 60 h 91"/>
                    <a:gd name="T98" fmla="*/ 45 w 91"/>
                    <a:gd name="T99" fmla="*/ 60 h 91"/>
                    <a:gd name="T100" fmla="*/ 50 w 91"/>
                    <a:gd name="T101" fmla="*/ 60 h 91"/>
                    <a:gd name="T102" fmla="*/ 56 w 91"/>
                    <a:gd name="T103" fmla="*/ 56 h 91"/>
                    <a:gd name="T104" fmla="*/ 59 w 91"/>
                    <a:gd name="T105" fmla="*/ 50 h 91"/>
                    <a:gd name="T106" fmla="*/ 59 w 91"/>
                    <a:gd name="T107" fmla="*/ 45 h 91"/>
                    <a:gd name="T108" fmla="*/ 59 w 91"/>
                    <a:gd name="T109" fmla="*/ 45 h 91"/>
                    <a:gd name="T110" fmla="*/ 59 w 91"/>
                    <a:gd name="T111" fmla="*/ 39 h 91"/>
                    <a:gd name="T112" fmla="*/ 56 w 91"/>
                    <a:gd name="T113" fmla="*/ 35 h 91"/>
                    <a:gd name="T114" fmla="*/ 50 w 91"/>
                    <a:gd name="T115" fmla="*/ 32 h 91"/>
                    <a:gd name="T116" fmla="*/ 45 w 91"/>
                    <a:gd name="T117" fmla="*/ 30 h 91"/>
                    <a:gd name="T118" fmla="*/ 45 w 91"/>
                    <a:gd name="T119" fmla="*/ 30 h 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91" h="91">
                      <a:moveTo>
                        <a:pt x="45" y="91"/>
                      </a:moveTo>
                      <a:lnTo>
                        <a:pt x="45" y="91"/>
                      </a:lnTo>
                      <a:lnTo>
                        <a:pt x="35" y="89"/>
                      </a:lnTo>
                      <a:lnTo>
                        <a:pt x="28" y="87"/>
                      </a:lnTo>
                      <a:lnTo>
                        <a:pt x="21" y="84"/>
                      </a:lnTo>
                      <a:lnTo>
                        <a:pt x="13" y="78"/>
                      </a:lnTo>
                      <a:lnTo>
                        <a:pt x="8" y="71"/>
                      </a:lnTo>
                      <a:lnTo>
                        <a:pt x="4" y="63"/>
                      </a:lnTo>
                      <a:lnTo>
                        <a:pt x="0" y="54"/>
                      </a:lnTo>
                      <a:lnTo>
                        <a:pt x="0" y="45"/>
                      </a:lnTo>
                      <a:lnTo>
                        <a:pt x="0" y="45"/>
                      </a:lnTo>
                      <a:lnTo>
                        <a:pt x="0" y="35"/>
                      </a:lnTo>
                      <a:lnTo>
                        <a:pt x="4" y="28"/>
                      </a:lnTo>
                      <a:lnTo>
                        <a:pt x="8" y="21"/>
                      </a:lnTo>
                      <a:lnTo>
                        <a:pt x="13" y="13"/>
                      </a:lnTo>
                      <a:lnTo>
                        <a:pt x="21" y="8"/>
                      </a:lnTo>
                      <a:lnTo>
                        <a:pt x="28" y="4"/>
                      </a:lnTo>
                      <a:lnTo>
                        <a:pt x="35" y="0"/>
                      </a:lnTo>
                      <a:lnTo>
                        <a:pt x="45" y="0"/>
                      </a:lnTo>
                      <a:lnTo>
                        <a:pt x="45" y="0"/>
                      </a:lnTo>
                      <a:lnTo>
                        <a:pt x="54" y="0"/>
                      </a:lnTo>
                      <a:lnTo>
                        <a:pt x="63" y="4"/>
                      </a:lnTo>
                      <a:lnTo>
                        <a:pt x="71" y="8"/>
                      </a:lnTo>
                      <a:lnTo>
                        <a:pt x="78" y="13"/>
                      </a:lnTo>
                      <a:lnTo>
                        <a:pt x="84" y="21"/>
                      </a:lnTo>
                      <a:lnTo>
                        <a:pt x="87" y="28"/>
                      </a:lnTo>
                      <a:lnTo>
                        <a:pt x="89" y="35"/>
                      </a:lnTo>
                      <a:lnTo>
                        <a:pt x="91" y="45"/>
                      </a:lnTo>
                      <a:lnTo>
                        <a:pt x="91" y="45"/>
                      </a:lnTo>
                      <a:lnTo>
                        <a:pt x="89" y="54"/>
                      </a:lnTo>
                      <a:lnTo>
                        <a:pt x="87" y="63"/>
                      </a:lnTo>
                      <a:lnTo>
                        <a:pt x="84" y="71"/>
                      </a:lnTo>
                      <a:lnTo>
                        <a:pt x="78" y="78"/>
                      </a:lnTo>
                      <a:lnTo>
                        <a:pt x="71" y="84"/>
                      </a:lnTo>
                      <a:lnTo>
                        <a:pt x="63" y="87"/>
                      </a:lnTo>
                      <a:lnTo>
                        <a:pt x="54" y="89"/>
                      </a:lnTo>
                      <a:lnTo>
                        <a:pt x="45" y="91"/>
                      </a:lnTo>
                      <a:lnTo>
                        <a:pt x="45" y="91"/>
                      </a:lnTo>
                      <a:close/>
                      <a:moveTo>
                        <a:pt x="45" y="30"/>
                      </a:moveTo>
                      <a:lnTo>
                        <a:pt x="45" y="30"/>
                      </a:lnTo>
                      <a:lnTo>
                        <a:pt x="39" y="32"/>
                      </a:lnTo>
                      <a:lnTo>
                        <a:pt x="35" y="35"/>
                      </a:lnTo>
                      <a:lnTo>
                        <a:pt x="32" y="39"/>
                      </a:lnTo>
                      <a:lnTo>
                        <a:pt x="30" y="45"/>
                      </a:lnTo>
                      <a:lnTo>
                        <a:pt x="30" y="45"/>
                      </a:lnTo>
                      <a:lnTo>
                        <a:pt x="32" y="50"/>
                      </a:lnTo>
                      <a:lnTo>
                        <a:pt x="35" y="56"/>
                      </a:lnTo>
                      <a:lnTo>
                        <a:pt x="39" y="60"/>
                      </a:lnTo>
                      <a:lnTo>
                        <a:pt x="45" y="60"/>
                      </a:lnTo>
                      <a:lnTo>
                        <a:pt x="45" y="60"/>
                      </a:lnTo>
                      <a:lnTo>
                        <a:pt x="50" y="60"/>
                      </a:lnTo>
                      <a:lnTo>
                        <a:pt x="56" y="56"/>
                      </a:lnTo>
                      <a:lnTo>
                        <a:pt x="59" y="50"/>
                      </a:lnTo>
                      <a:lnTo>
                        <a:pt x="59" y="45"/>
                      </a:lnTo>
                      <a:lnTo>
                        <a:pt x="59" y="45"/>
                      </a:lnTo>
                      <a:lnTo>
                        <a:pt x="59" y="39"/>
                      </a:lnTo>
                      <a:lnTo>
                        <a:pt x="56" y="35"/>
                      </a:lnTo>
                      <a:lnTo>
                        <a:pt x="50" y="32"/>
                      </a:lnTo>
                      <a:lnTo>
                        <a:pt x="45" y="30"/>
                      </a:lnTo>
                      <a:lnTo>
                        <a:pt x="45" y="3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30" name="Rectangle 29">
                  <a:extLst>
                    <a:ext uri="{FF2B5EF4-FFF2-40B4-BE49-F238E27FC236}">
                      <a16:creationId xmlns:a16="http://schemas.microsoft.com/office/drawing/2014/main" id="{CAAE7413-EF26-4717-AC8C-2CF23F2E41D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2178051"/>
                  <a:ext cx="49213" cy="93663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31" name="Freeform 253">
                  <a:extLst>
                    <a:ext uri="{FF2B5EF4-FFF2-40B4-BE49-F238E27FC236}">
                      <a16:creationId xmlns:a16="http://schemas.microsoft.com/office/drawing/2014/main" id="{73AA1EC9-474D-472D-8564-CF212A52E48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716963" y="2192338"/>
                  <a:ext cx="68263" cy="103188"/>
                </a:xfrm>
                <a:custGeom>
                  <a:avLst/>
                  <a:gdLst>
                    <a:gd name="T0" fmla="*/ 30 w 43"/>
                    <a:gd name="T1" fmla="*/ 65 h 65"/>
                    <a:gd name="T2" fmla="*/ 0 w 43"/>
                    <a:gd name="T3" fmla="*/ 59 h 65"/>
                    <a:gd name="T4" fmla="*/ 13 w 43"/>
                    <a:gd name="T5" fmla="*/ 0 h 65"/>
                    <a:gd name="T6" fmla="*/ 43 w 43"/>
                    <a:gd name="T7" fmla="*/ 6 h 65"/>
                    <a:gd name="T8" fmla="*/ 30 w 43"/>
                    <a:gd name="T9" fmla="*/ 65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3" h="65">
                      <a:moveTo>
                        <a:pt x="30" y="65"/>
                      </a:moveTo>
                      <a:lnTo>
                        <a:pt x="0" y="59"/>
                      </a:lnTo>
                      <a:lnTo>
                        <a:pt x="13" y="0"/>
                      </a:lnTo>
                      <a:lnTo>
                        <a:pt x="43" y="6"/>
                      </a:lnTo>
                      <a:lnTo>
                        <a:pt x="30" y="65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32" name="Freeform 254">
                  <a:extLst>
                    <a:ext uri="{FF2B5EF4-FFF2-40B4-BE49-F238E27FC236}">
                      <a16:creationId xmlns:a16="http://schemas.microsoft.com/office/drawing/2014/main" id="{61A6ADAC-B9E4-492F-865E-BCE734A5588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882063" y="2244726"/>
                  <a:ext cx="82550" cy="109538"/>
                </a:xfrm>
                <a:custGeom>
                  <a:avLst/>
                  <a:gdLst>
                    <a:gd name="T0" fmla="*/ 28 w 52"/>
                    <a:gd name="T1" fmla="*/ 69 h 69"/>
                    <a:gd name="T2" fmla="*/ 0 w 52"/>
                    <a:gd name="T3" fmla="*/ 56 h 69"/>
                    <a:gd name="T4" fmla="*/ 24 w 52"/>
                    <a:gd name="T5" fmla="*/ 0 h 69"/>
                    <a:gd name="T6" fmla="*/ 52 w 52"/>
                    <a:gd name="T7" fmla="*/ 13 h 69"/>
                    <a:gd name="T8" fmla="*/ 28 w 52"/>
                    <a:gd name="T9" fmla="*/ 69 h 6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2" h="69">
                      <a:moveTo>
                        <a:pt x="28" y="69"/>
                      </a:moveTo>
                      <a:lnTo>
                        <a:pt x="0" y="56"/>
                      </a:lnTo>
                      <a:lnTo>
                        <a:pt x="24" y="0"/>
                      </a:lnTo>
                      <a:lnTo>
                        <a:pt x="52" y="13"/>
                      </a:lnTo>
                      <a:lnTo>
                        <a:pt x="28" y="69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33" name="Freeform 255">
                  <a:extLst>
                    <a:ext uri="{FF2B5EF4-FFF2-40B4-BE49-F238E27FC236}">
                      <a16:creationId xmlns:a16="http://schemas.microsoft.com/office/drawing/2014/main" id="{977A77F8-1623-4CB7-A819-AAAAA493D4D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031288" y="2339976"/>
                  <a:ext cx="98425" cy="104775"/>
                </a:xfrm>
                <a:custGeom>
                  <a:avLst/>
                  <a:gdLst>
                    <a:gd name="T0" fmla="*/ 26 w 62"/>
                    <a:gd name="T1" fmla="*/ 66 h 66"/>
                    <a:gd name="T2" fmla="*/ 0 w 62"/>
                    <a:gd name="T3" fmla="*/ 48 h 66"/>
                    <a:gd name="T4" fmla="*/ 37 w 62"/>
                    <a:gd name="T5" fmla="*/ 0 h 66"/>
                    <a:gd name="T6" fmla="*/ 62 w 62"/>
                    <a:gd name="T7" fmla="*/ 16 h 66"/>
                    <a:gd name="T8" fmla="*/ 26 w 62"/>
                    <a:gd name="T9" fmla="*/ 66 h 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2" h="66">
                      <a:moveTo>
                        <a:pt x="26" y="66"/>
                      </a:moveTo>
                      <a:lnTo>
                        <a:pt x="0" y="48"/>
                      </a:lnTo>
                      <a:lnTo>
                        <a:pt x="37" y="0"/>
                      </a:lnTo>
                      <a:lnTo>
                        <a:pt x="62" y="16"/>
                      </a:lnTo>
                      <a:lnTo>
                        <a:pt x="26" y="66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34" name="Freeform 256">
                  <a:extLst>
                    <a:ext uri="{FF2B5EF4-FFF2-40B4-BE49-F238E27FC236}">
                      <a16:creationId xmlns:a16="http://schemas.microsoft.com/office/drawing/2014/main" id="{935FDF97-10EE-4E4C-A53E-9166170DD4A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164638" y="2462213"/>
                  <a:ext cx="103188" cy="100013"/>
                </a:xfrm>
                <a:custGeom>
                  <a:avLst/>
                  <a:gdLst>
                    <a:gd name="T0" fmla="*/ 20 w 65"/>
                    <a:gd name="T1" fmla="*/ 63 h 63"/>
                    <a:gd name="T2" fmla="*/ 0 w 65"/>
                    <a:gd name="T3" fmla="*/ 41 h 63"/>
                    <a:gd name="T4" fmla="*/ 44 w 65"/>
                    <a:gd name="T5" fmla="*/ 0 h 63"/>
                    <a:gd name="T6" fmla="*/ 65 w 65"/>
                    <a:gd name="T7" fmla="*/ 23 h 63"/>
                    <a:gd name="T8" fmla="*/ 20 w 65"/>
                    <a:gd name="T9" fmla="*/ 63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5" h="63">
                      <a:moveTo>
                        <a:pt x="20" y="63"/>
                      </a:moveTo>
                      <a:lnTo>
                        <a:pt x="0" y="41"/>
                      </a:lnTo>
                      <a:lnTo>
                        <a:pt x="44" y="0"/>
                      </a:lnTo>
                      <a:lnTo>
                        <a:pt x="65" y="23"/>
                      </a:lnTo>
                      <a:lnTo>
                        <a:pt x="20" y="6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35" name="Freeform 257">
                  <a:extLst>
                    <a:ext uri="{FF2B5EF4-FFF2-40B4-BE49-F238E27FC236}">
                      <a16:creationId xmlns:a16="http://schemas.microsoft.com/office/drawing/2014/main" id="{CA562749-14B7-41A8-BB25-A07EBB3C4AD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271001" y="2616201"/>
                  <a:ext cx="104775" cy="87313"/>
                </a:xfrm>
                <a:custGeom>
                  <a:avLst/>
                  <a:gdLst>
                    <a:gd name="T0" fmla="*/ 14 w 66"/>
                    <a:gd name="T1" fmla="*/ 55 h 55"/>
                    <a:gd name="T2" fmla="*/ 0 w 66"/>
                    <a:gd name="T3" fmla="*/ 29 h 55"/>
                    <a:gd name="T4" fmla="*/ 51 w 66"/>
                    <a:gd name="T5" fmla="*/ 0 h 55"/>
                    <a:gd name="T6" fmla="*/ 66 w 66"/>
                    <a:gd name="T7" fmla="*/ 26 h 55"/>
                    <a:gd name="T8" fmla="*/ 14 w 66"/>
                    <a:gd name="T9" fmla="*/ 55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6" h="55">
                      <a:moveTo>
                        <a:pt x="14" y="55"/>
                      </a:moveTo>
                      <a:lnTo>
                        <a:pt x="0" y="29"/>
                      </a:lnTo>
                      <a:lnTo>
                        <a:pt x="51" y="0"/>
                      </a:lnTo>
                      <a:lnTo>
                        <a:pt x="66" y="26"/>
                      </a:lnTo>
                      <a:lnTo>
                        <a:pt x="14" y="55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36" name="Freeform 258">
                  <a:extLst>
                    <a:ext uri="{FF2B5EF4-FFF2-40B4-BE49-F238E27FC236}">
                      <a16:creationId xmlns:a16="http://schemas.microsoft.com/office/drawing/2014/main" id="{408CA8BA-E75E-4490-98D8-1AEDFA54646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344026" y="2789238"/>
                  <a:ext cx="106363" cy="76200"/>
                </a:xfrm>
                <a:custGeom>
                  <a:avLst/>
                  <a:gdLst>
                    <a:gd name="T0" fmla="*/ 9 w 67"/>
                    <a:gd name="T1" fmla="*/ 48 h 48"/>
                    <a:gd name="T2" fmla="*/ 0 w 67"/>
                    <a:gd name="T3" fmla="*/ 19 h 48"/>
                    <a:gd name="T4" fmla="*/ 57 w 67"/>
                    <a:gd name="T5" fmla="*/ 0 h 48"/>
                    <a:gd name="T6" fmla="*/ 67 w 67"/>
                    <a:gd name="T7" fmla="*/ 28 h 48"/>
                    <a:gd name="T8" fmla="*/ 9 w 67"/>
                    <a:gd name="T9" fmla="*/ 48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7" h="48">
                      <a:moveTo>
                        <a:pt x="9" y="48"/>
                      </a:moveTo>
                      <a:lnTo>
                        <a:pt x="0" y="19"/>
                      </a:lnTo>
                      <a:lnTo>
                        <a:pt x="57" y="0"/>
                      </a:lnTo>
                      <a:lnTo>
                        <a:pt x="67" y="28"/>
                      </a:lnTo>
                      <a:lnTo>
                        <a:pt x="9" y="48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37" name="Freeform 259">
                  <a:extLst>
                    <a:ext uri="{FF2B5EF4-FFF2-40B4-BE49-F238E27FC236}">
                      <a16:creationId xmlns:a16="http://schemas.microsoft.com/office/drawing/2014/main" id="{1090CF3A-27A3-4311-8FE7-596CA729EF8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385301" y="2974976"/>
                  <a:ext cx="100013" cy="58738"/>
                </a:xfrm>
                <a:custGeom>
                  <a:avLst/>
                  <a:gdLst>
                    <a:gd name="T0" fmla="*/ 3 w 63"/>
                    <a:gd name="T1" fmla="*/ 37 h 37"/>
                    <a:gd name="T2" fmla="*/ 0 w 63"/>
                    <a:gd name="T3" fmla="*/ 7 h 37"/>
                    <a:gd name="T4" fmla="*/ 59 w 63"/>
                    <a:gd name="T5" fmla="*/ 0 h 37"/>
                    <a:gd name="T6" fmla="*/ 63 w 63"/>
                    <a:gd name="T7" fmla="*/ 31 h 37"/>
                    <a:gd name="T8" fmla="*/ 3 w 63"/>
                    <a:gd name="T9" fmla="*/ 37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3" h="37">
                      <a:moveTo>
                        <a:pt x="3" y="37"/>
                      </a:moveTo>
                      <a:lnTo>
                        <a:pt x="0" y="7"/>
                      </a:lnTo>
                      <a:lnTo>
                        <a:pt x="59" y="0"/>
                      </a:lnTo>
                      <a:lnTo>
                        <a:pt x="63" y="31"/>
                      </a:lnTo>
                      <a:lnTo>
                        <a:pt x="3" y="37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38" name="Freeform 260">
                  <a:extLst>
                    <a:ext uri="{FF2B5EF4-FFF2-40B4-BE49-F238E27FC236}">
                      <a16:creationId xmlns:a16="http://schemas.microsoft.com/office/drawing/2014/main" id="{3FAB6C50-BDDE-45C0-926C-7837C8FA7B7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385301" y="3157538"/>
                  <a:ext cx="100013" cy="58738"/>
                </a:xfrm>
                <a:custGeom>
                  <a:avLst/>
                  <a:gdLst>
                    <a:gd name="T0" fmla="*/ 59 w 63"/>
                    <a:gd name="T1" fmla="*/ 37 h 37"/>
                    <a:gd name="T2" fmla="*/ 0 w 63"/>
                    <a:gd name="T3" fmla="*/ 31 h 37"/>
                    <a:gd name="T4" fmla="*/ 3 w 63"/>
                    <a:gd name="T5" fmla="*/ 0 h 37"/>
                    <a:gd name="T6" fmla="*/ 63 w 63"/>
                    <a:gd name="T7" fmla="*/ 7 h 37"/>
                    <a:gd name="T8" fmla="*/ 59 w 63"/>
                    <a:gd name="T9" fmla="*/ 37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3" h="37">
                      <a:moveTo>
                        <a:pt x="59" y="37"/>
                      </a:moveTo>
                      <a:lnTo>
                        <a:pt x="0" y="31"/>
                      </a:lnTo>
                      <a:lnTo>
                        <a:pt x="3" y="0"/>
                      </a:lnTo>
                      <a:lnTo>
                        <a:pt x="63" y="7"/>
                      </a:lnTo>
                      <a:lnTo>
                        <a:pt x="59" y="37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39" name="Freeform 261">
                  <a:extLst>
                    <a:ext uri="{FF2B5EF4-FFF2-40B4-BE49-F238E27FC236}">
                      <a16:creationId xmlns:a16="http://schemas.microsoft.com/office/drawing/2014/main" id="{47D663F0-8018-44F9-80F0-01A8B6986EC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344026" y="3327401"/>
                  <a:ext cx="106363" cy="76200"/>
                </a:xfrm>
                <a:custGeom>
                  <a:avLst/>
                  <a:gdLst>
                    <a:gd name="T0" fmla="*/ 57 w 67"/>
                    <a:gd name="T1" fmla="*/ 48 h 48"/>
                    <a:gd name="T2" fmla="*/ 0 w 67"/>
                    <a:gd name="T3" fmla="*/ 28 h 48"/>
                    <a:gd name="T4" fmla="*/ 9 w 67"/>
                    <a:gd name="T5" fmla="*/ 0 h 48"/>
                    <a:gd name="T6" fmla="*/ 67 w 67"/>
                    <a:gd name="T7" fmla="*/ 19 h 48"/>
                    <a:gd name="T8" fmla="*/ 57 w 67"/>
                    <a:gd name="T9" fmla="*/ 48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7" h="48">
                      <a:moveTo>
                        <a:pt x="57" y="48"/>
                      </a:moveTo>
                      <a:lnTo>
                        <a:pt x="0" y="28"/>
                      </a:lnTo>
                      <a:lnTo>
                        <a:pt x="9" y="0"/>
                      </a:lnTo>
                      <a:lnTo>
                        <a:pt x="67" y="19"/>
                      </a:lnTo>
                      <a:lnTo>
                        <a:pt x="57" y="48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40" name="Freeform 262">
                  <a:extLst>
                    <a:ext uri="{FF2B5EF4-FFF2-40B4-BE49-F238E27FC236}">
                      <a16:creationId xmlns:a16="http://schemas.microsoft.com/office/drawing/2014/main" id="{0101A9CE-A12E-44DC-AD06-F6FE1A728FC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271001" y="3486151"/>
                  <a:ext cx="104775" cy="92075"/>
                </a:xfrm>
                <a:custGeom>
                  <a:avLst/>
                  <a:gdLst>
                    <a:gd name="T0" fmla="*/ 51 w 66"/>
                    <a:gd name="T1" fmla="*/ 58 h 58"/>
                    <a:gd name="T2" fmla="*/ 0 w 66"/>
                    <a:gd name="T3" fmla="*/ 26 h 58"/>
                    <a:gd name="T4" fmla="*/ 14 w 66"/>
                    <a:gd name="T5" fmla="*/ 0 h 58"/>
                    <a:gd name="T6" fmla="*/ 66 w 66"/>
                    <a:gd name="T7" fmla="*/ 30 h 58"/>
                    <a:gd name="T8" fmla="*/ 51 w 66"/>
                    <a:gd name="T9" fmla="*/ 58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6" h="58">
                      <a:moveTo>
                        <a:pt x="51" y="58"/>
                      </a:moveTo>
                      <a:lnTo>
                        <a:pt x="0" y="26"/>
                      </a:lnTo>
                      <a:lnTo>
                        <a:pt x="14" y="0"/>
                      </a:lnTo>
                      <a:lnTo>
                        <a:pt x="66" y="30"/>
                      </a:lnTo>
                      <a:lnTo>
                        <a:pt x="51" y="58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41" name="Freeform 263">
                  <a:extLst>
                    <a:ext uri="{FF2B5EF4-FFF2-40B4-BE49-F238E27FC236}">
                      <a16:creationId xmlns:a16="http://schemas.microsoft.com/office/drawing/2014/main" id="{13CE1013-3E66-434C-A86D-CC70498A1AD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164638" y="3627438"/>
                  <a:ext cx="103188" cy="100013"/>
                </a:xfrm>
                <a:custGeom>
                  <a:avLst/>
                  <a:gdLst>
                    <a:gd name="T0" fmla="*/ 44 w 65"/>
                    <a:gd name="T1" fmla="*/ 63 h 63"/>
                    <a:gd name="T2" fmla="*/ 0 w 65"/>
                    <a:gd name="T3" fmla="*/ 24 h 63"/>
                    <a:gd name="T4" fmla="*/ 20 w 65"/>
                    <a:gd name="T5" fmla="*/ 0 h 63"/>
                    <a:gd name="T6" fmla="*/ 65 w 65"/>
                    <a:gd name="T7" fmla="*/ 41 h 63"/>
                    <a:gd name="T8" fmla="*/ 44 w 65"/>
                    <a:gd name="T9" fmla="*/ 63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5" h="63">
                      <a:moveTo>
                        <a:pt x="44" y="63"/>
                      </a:moveTo>
                      <a:lnTo>
                        <a:pt x="0" y="24"/>
                      </a:lnTo>
                      <a:lnTo>
                        <a:pt x="20" y="0"/>
                      </a:lnTo>
                      <a:lnTo>
                        <a:pt x="65" y="41"/>
                      </a:lnTo>
                      <a:lnTo>
                        <a:pt x="44" y="6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42" name="Freeform 264">
                  <a:extLst>
                    <a:ext uri="{FF2B5EF4-FFF2-40B4-BE49-F238E27FC236}">
                      <a16:creationId xmlns:a16="http://schemas.microsoft.com/office/drawing/2014/main" id="{8E6176CC-397B-4CA1-985C-7F8F098D305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031288" y="3748088"/>
                  <a:ext cx="98425" cy="106363"/>
                </a:xfrm>
                <a:custGeom>
                  <a:avLst/>
                  <a:gdLst>
                    <a:gd name="T0" fmla="*/ 37 w 62"/>
                    <a:gd name="T1" fmla="*/ 67 h 67"/>
                    <a:gd name="T2" fmla="*/ 0 w 62"/>
                    <a:gd name="T3" fmla="*/ 17 h 67"/>
                    <a:gd name="T4" fmla="*/ 26 w 62"/>
                    <a:gd name="T5" fmla="*/ 0 h 67"/>
                    <a:gd name="T6" fmla="*/ 62 w 62"/>
                    <a:gd name="T7" fmla="*/ 48 h 67"/>
                    <a:gd name="T8" fmla="*/ 37 w 62"/>
                    <a:gd name="T9" fmla="*/ 67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2" h="67">
                      <a:moveTo>
                        <a:pt x="37" y="67"/>
                      </a:moveTo>
                      <a:lnTo>
                        <a:pt x="0" y="17"/>
                      </a:lnTo>
                      <a:lnTo>
                        <a:pt x="26" y="0"/>
                      </a:lnTo>
                      <a:lnTo>
                        <a:pt x="62" y="48"/>
                      </a:lnTo>
                      <a:lnTo>
                        <a:pt x="37" y="67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43" name="Freeform 265">
                  <a:extLst>
                    <a:ext uri="{FF2B5EF4-FFF2-40B4-BE49-F238E27FC236}">
                      <a16:creationId xmlns:a16="http://schemas.microsoft.com/office/drawing/2014/main" id="{62E95CCC-CC2C-45B4-BF48-0CB536D00C6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355013" y="2192338"/>
                  <a:ext cx="65088" cy="103188"/>
                </a:xfrm>
                <a:custGeom>
                  <a:avLst/>
                  <a:gdLst>
                    <a:gd name="T0" fmla="*/ 11 w 41"/>
                    <a:gd name="T1" fmla="*/ 65 h 65"/>
                    <a:gd name="T2" fmla="*/ 0 w 41"/>
                    <a:gd name="T3" fmla="*/ 6 h 65"/>
                    <a:gd name="T4" fmla="*/ 30 w 41"/>
                    <a:gd name="T5" fmla="*/ 0 h 65"/>
                    <a:gd name="T6" fmla="*/ 41 w 41"/>
                    <a:gd name="T7" fmla="*/ 59 h 65"/>
                    <a:gd name="T8" fmla="*/ 11 w 41"/>
                    <a:gd name="T9" fmla="*/ 65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1" h="65">
                      <a:moveTo>
                        <a:pt x="11" y="65"/>
                      </a:moveTo>
                      <a:lnTo>
                        <a:pt x="0" y="6"/>
                      </a:lnTo>
                      <a:lnTo>
                        <a:pt x="30" y="0"/>
                      </a:lnTo>
                      <a:lnTo>
                        <a:pt x="41" y="59"/>
                      </a:lnTo>
                      <a:lnTo>
                        <a:pt x="11" y="65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44" name="Freeform 266">
                  <a:extLst>
                    <a:ext uri="{FF2B5EF4-FFF2-40B4-BE49-F238E27FC236}">
                      <a16:creationId xmlns:a16="http://schemas.microsoft.com/office/drawing/2014/main" id="{0C70349C-B12D-4A72-A795-29BFCAA01DC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172451" y="2244726"/>
                  <a:ext cx="82550" cy="109538"/>
                </a:xfrm>
                <a:custGeom>
                  <a:avLst/>
                  <a:gdLst>
                    <a:gd name="T0" fmla="*/ 24 w 52"/>
                    <a:gd name="T1" fmla="*/ 69 h 69"/>
                    <a:gd name="T2" fmla="*/ 0 w 52"/>
                    <a:gd name="T3" fmla="*/ 13 h 69"/>
                    <a:gd name="T4" fmla="*/ 28 w 52"/>
                    <a:gd name="T5" fmla="*/ 0 h 69"/>
                    <a:gd name="T6" fmla="*/ 52 w 52"/>
                    <a:gd name="T7" fmla="*/ 56 h 69"/>
                    <a:gd name="T8" fmla="*/ 24 w 52"/>
                    <a:gd name="T9" fmla="*/ 69 h 6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2" h="69">
                      <a:moveTo>
                        <a:pt x="24" y="69"/>
                      </a:moveTo>
                      <a:lnTo>
                        <a:pt x="0" y="13"/>
                      </a:lnTo>
                      <a:lnTo>
                        <a:pt x="28" y="0"/>
                      </a:lnTo>
                      <a:lnTo>
                        <a:pt x="52" y="56"/>
                      </a:lnTo>
                      <a:lnTo>
                        <a:pt x="24" y="69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45" name="Freeform 267">
                  <a:extLst>
                    <a:ext uri="{FF2B5EF4-FFF2-40B4-BE49-F238E27FC236}">
                      <a16:creationId xmlns:a16="http://schemas.microsoft.com/office/drawing/2014/main" id="{54AA60F1-EA14-4143-BBC2-403E43DB1EE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008938" y="2339976"/>
                  <a:ext cx="96838" cy="104775"/>
                </a:xfrm>
                <a:custGeom>
                  <a:avLst/>
                  <a:gdLst>
                    <a:gd name="T0" fmla="*/ 37 w 61"/>
                    <a:gd name="T1" fmla="*/ 66 h 66"/>
                    <a:gd name="T2" fmla="*/ 0 w 61"/>
                    <a:gd name="T3" fmla="*/ 16 h 66"/>
                    <a:gd name="T4" fmla="*/ 26 w 61"/>
                    <a:gd name="T5" fmla="*/ 0 h 66"/>
                    <a:gd name="T6" fmla="*/ 61 w 61"/>
                    <a:gd name="T7" fmla="*/ 48 h 66"/>
                    <a:gd name="T8" fmla="*/ 37 w 61"/>
                    <a:gd name="T9" fmla="*/ 66 h 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1" h="66">
                      <a:moveTo>
                        <a:pt x="37" y="66"/>
                      </a:moveTo>
                      <a:lnTo>
                        <a:pt x="0" y="16"/>
                      </a:lnTo>
                      <a:lnTo>
                        <a:pt x="26" y="0"/>
                      </a:lnTo>
                      <a:lnTo>
                        <a:pt x="61" y="48"/>
                      </a:lnTo>
                      <a:lnTo>
                        <a:pt x="37" y="66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46" name="Freeform 268">
                  <a:extLst>
                    <a:ext uri="{FF2B5EF4-FFF2-40B4-BE49-F238E27FC236}">
                      <a16:creationId xmlns:a16="http://schemas.microsoft.com/office/drawing/2014/main" id="{6A9FE813-E6B8-4C88-B669-F9DD4D594FA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870826" y="2462213"/>
                  <a:ext cx="101600" cy="100013"/>
                </a:xfrm>
                <a:custGeom>
                  <a:avLst/>
                  <a:gdLst>
                    <a:gd name="T0" fmla="*/ 44 w 64"/>
                    <a:gd name="T1" fmla="*/ 63 h 63"/>
                    <a:gd name="T2" fmla="*/ 0 w 64"/>
                    <a:gd name="T3" fmla="*/ 23 h 63"/>
                    <a:gd name="T4" fmla="*/ 20 w 64"/>
                    <a:gd name="T5" fmla="*/ 0 h 63"/>
                    <a:gd name="T6" fmla="*/ 64 w 64"/>
                    <a:gd name="T7" fmla="*/ 41 h 63"/>
                    <a:gd name="T8" fmla="*/ 44 w 64"/>
                    <a:gd name="T9" fmla="*/ 63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4" h="63">
                      <a:moveTo>
                        <a:pt x="44" y="63"/>
                      </a:moveTo>
                      <a:lnTo>
                        <a:pt x="0" y="23"/>
                      </a:lnTo>
                      <a:lnTo>
                        <a:pt x="20" y="0"/>
                      </a:lnTo>
                      <a:lnTo>
                        <a:pt x="64" y="41"/>
                      </a:lnTo>
                      <a:lnTo>
                        <a:pt x="44" y="6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47" name="Freeform 269">
                  <a:extLst>
                    <a:ext uri="{FF2B5EF4-FFF2-40B4-BE49-F238E27FC236}">
                      <a16:creationId xmlns:a16="http://schemas.microsoft.com/office/drawing/2014/main" id="{603A3DBC-6ECA-4B3E-A67C-A80CC97937D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761288" y="2616201"/>
                  <a:ext cx="106363" cy="87313"/>
                </a:xfrm>
                <a:custGeom>
                  <a:avLst/>
                  <a:gdLst>
                    <a:gd name="T0" fmla="*/ 52 w 67"/>
                    <a:gd name="T1" fmla="*/ 55 h 55"/>
                    <a:gd name="T2" fmla="*/ 0 w 67"/>
                    <a:gd name="T3" fmla="*/ 26 h 55"/>
                    <a:gd name="T4" fmla="*/ 15 w 67"/>
                    <a:gd name="T5" fmla="*/ 0 h 55"/>
                    <a:gd name="T6" fmla="*/ 67 w 67"/>
                    <a:gd name="T7" fmla="*/ 29 h 55"/>
                    <a:gd name="T8" fmla="*/ 52 w 67"/>
                    <a:gd name="T9" fmla="*/ 55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7" h="55">
                      <a:moveTo>
                        <a:pt x="52" y="55"/>
                      </a:moveTo>
                      <a:lnTo>
                        <a:pt x="0" y="26"/>
                      </a:lnTo>
                      <a:lnTo>
                        <a:pt x="15" y="0"/>
                      </a:lnTo>
                      <a:lnTo>
                        <a:pt x="67" y="29"/>
                      </a:lnTo>
                      <a:lnTo>
                        <a:pt x="52" y="55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48" name="Freeform 270">
                  <a:extLst>
                    <a:ext uri="{FF2B5EF4-FFF2-40B4-BE49-F238E27FC236}">
                      <a16:creationId xmlns:a16="http://schemas.microsoft.com/office/drawing/2014/main" id="{0F7E6AE9-98CA-4620-AB33-54F1E0AB17E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688263" y="2789238"/>
                  <a:ext cx="104775" cy="76200"/>
                </a:xfrm>
                <a:custGeom>
                  <a:avLst/>
                  <a:gdLst>
                    <a:gd name="T0" fmla="*/ 57 w 66"/>
                    <a:gd name="T1" fmla="*/ 48 h 48"/>
                    <a:gd name="T2" fmla="*/ 0 w 66"/>
                    <a:gd name="T3" fmla="*/ 28 h 48"/>
                    <a:gd name="T4" fmla="*/ 9 w 66"/>
                    <a:gd name="T5" fmla="*/ 0 h 48"/>
                    <a:gd name="T6" fmla="*/ 66 w 66"/>
                    <a:gd name="T7" fmla="*/ 19 h 48"/>
                    <a:gd name="T8" fmla="*/ 57 w 66"/>
                    <a:gd name="T9" fmla="*/ 48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6" h="48">
                      <a:moveTo>
                        <a:pt x="57" y="48"/>
                      </a:moveTo>
                      <a:lnTo>
                        <a:pt x="0" y="28"/>
                      </a:lnTo>
                      <a:lnTo>
                        <a:pt x="9" y="0"/>
                      </a:lnTo>
                      <a:lnTo>
                        <a:pt x="66" y="19"/>
                      </a:lnTo>
                      <a:lnTo>
                        <a:pt x="57" y="48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49" name="Freeform 271">
                  <a:extLst>
                    <a:ext uri="{FF2B5EF4-FFF2-40B4-BE49-F238E27FC236}">
                      <a16:creationId xmlns:a16="http://schemas.microsoft.com/office/drawing/2014/main" id="{25BBFA28-CF4E-4B44-8A5A-FD93F243A23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651751" y="2974976"/>
                  <a:ext cx="100013" cy="58738"/>
                </a:xfrm>
                <a:custGeom>
                  <a:avLst/>
                  <a:gdLst>
                    <a:gd name="T0" fmla="*/ 60 w 63"/>
                    <a:gd name="T1" fmla="*/ 37 h 37"/>
                    <a:gd name="T2" fmla="*/ 0 w 63"/>
                    <a:gd name="T3" fmla="*/ 31 h 37"/>
                    <a:gd name="T4" fmla="*/ 4 w 63"/>
                    <a:gd name="T5" fmla="*/ 0 h 37"/>
                    <a:gd name="T6" fmla="*/ 63 w 63"/>
                    <a:gd name="T7" fmla="*/ 7 h 37"/>
                    <a:gd name="T8" fmla="*/ 60 w 63"/>
                    <a:gd name="T9" fmla="*/ 37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3" h="37">
                      <a:moveTo>
                        <a:pt x="60" y="37"/>
                      </a:moveTo>
                      <a:lnTo>
                        <a:pt x="0" y="31"/>
                      </a:lnTo>
                      <a:lnTo>
                        <a:pt x="4" y="0"/>
                      </a:lnTo>
                      <a:lnTo>
                        <a:pt x="63" y="7"/>
                      </a:lnTo>
                      <a:lnTo>
                        <a:pt x="60" y="37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50" name="Freeform 272">
                  <a:extLst>
                    <a:ext uri="{FF2B5EF4-FFF2-40B4-BE49-F238E27FC236}">
                      <a16:creationId xmlns:a16="http://schemas.microsoft.com/office/drawing/2014/main" id="{7A84640E-2B53-4CC9-9204-FB7F96CBC07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651751" y="3157538"/>
                  <a:ext cx="100013" cy="58738"/>
                </a:xfrm>
                <a:custGeom>
                  <a:avLst/>
                  <a:gdLst>
                    <a:gd name="T0" fmla="*/ 4 w 63"/>
                    <a:gd name="T1" fmla="*/ 37 h 37"/>
                    <a:gd name="T2" fmla="*/ 0 w 63"/>
                    <a:gd name="T3" fmla="*/ 7 h 37"/>
                    <a:gd name="T4" fmla="*/ 60 w 63"/>
                    <a:gd name="T5" fmla="*/ 0 h 37"/>
                    <a:gd name="T6" fmla="*/ 63 w 63"/>
                    <a:gd name="T7" fmla="*/ 31 h 37"/>
                    <a:gd name="T8" fmla="*/ 4 w 63"/>
                    <a:gd name="T9" fmla="*/ 37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3" h="37">
                      <a:moveTo>
                        <a:pt x="4" y="37"/>
                      </a:moveTo>
                      <a:lnTo>
                        <a:pt x="0" y="7"/>
                      </a:lnTo>
                      <a:lnTo>
                        <a:pt x="60" y="0"/>
                      </a:lnTo>
                      <a:lnTo>
                        <a:pt x="63" y="31"/>
                      </a:lnTo>
                      <a:lnTo>
                        <a:pt x="4" y="37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51" name="Freeform 273">
                  <a:extLst>
                    <a:ext uri="{FF2B5EF4-FFF2-40B4-BE49-F238E27FC236}">
                      <a16:creationId xmlns:a16="http://schemas.microsoft.com/office/drawing/2014/main" id="{C6794764-EA44-4A35-B42E-D05D12C03F8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688263" y="3327401"/>
                  <a:ext cx="104775" cy="76200"/>
                </a:xfrm>
                <a:custGeom>
                  <a:avLst/>
                  <a:gdLst>
                    <a:gd name="T0" fmla="*/ 9 w 66"/>
                    <a:gd name="T1" fmla="*/ 48 h 48"/>
                    <a:gd name="T2" fmla="*/ 0 w 66"/>
                    <a:gd name="T3" fmla="*/ 19 h 48"/>
                    <a:gd name="T4" fmla="*/ 57 w 66"/>
                    <a:gd name="T5" fmla="*/ 0 h 48"/>
                    <a:gd name="T6" fmla="*/ 66 w 66"/>
                    <a:gd name="T7" fmla="*/ 30 h 48"/>
                    <a:gd name="T8" fmla="*/ 9 w 66"/>
                    <a:gd name="T9" fmla="*/ 48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6" h="48">
                      <a:moveTo>
                        <a:pt x="9" y="48"/>
                      </a:moveTo>
                      <a:lnTo>
                        <a:pt x="0" y="19"/>
                      </a:lnTo>
                      <a:lnTo>
                        <a:pt x="57" y="0"/>
                      </a:lnTo>
                      <a:lnTo>
                        <a:pt x="66" y="30"/>
                      </a:lnTo>
                      <a:lnTo>
                        <a:pt x="9" y="48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52" name="Freeform 274">
                  <a:extLst>
                    <a:ext uri="{FF2B5EF4-FFF2-40B4-BE49-F238E27FC236}">
                      <a16:creationId xmlns:a16="http://schemas.microsoft.com/office/drawing/2014/main" id="{ECABC25A-4518-4111-9BA8-1DD818093C7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761288" y="3486151"/>
                  <a:ext cx="106363" cy="92075"/>
                </a:xfrm>
                <a:custGeom>
                  <a:avLst/>
                  <a:gdLst>
                    <a:gd name="T0" fmla="*/ 15 w 67"/>
                    <a:gd name="T1" fmla="*/ 58 h 58"/>
                    <a:gd name="T2" fmla="*/ 0 w 67"/>
                    <a:gd name="T3" fmla="*/ 30 h 58"/>
                    <a:gd name="T4" fmla="*/ 52 w 67"/>
                    <a:gd name="T5" fmla="*/ 0 h 58"/>
                    <a:gd name="T6" fmla="*/ 67 w 67"/>
                    <a:gd name="T7" fmla="*/ 26 h 58"/>
                    <a:gd name="T8" fmla="*/ 15 w 67"/>
                    <a:gd name="T9" fmla="*/ 58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7" h="58">
                      <a:moveTo>
                        <a:pt x="15" y="58"/>
                      </a:moveTo>
                      <a:lnTo>
                        <a:pt x="0" y="30"/>
                      </a:lnTo>
                      <a:lnTo>
                        <a:pt x="52" y="0"/>
                      </a:lnTo>
                      <a:lnTo>
                        <a:pt x="67" y="26"/>
                      </a:lnTo>
                      <a:lnTo>
                        <a:pt x="15" y="58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53" name="Freeform 275">
                  <a:extLst>
                    <a:ext uri="{FF2B5EF4-FFF2-40B4-BE49-F238E27FC236}">
                      <a16:creationId xmlns:a16="http://schemas.microsoft.com/office/drawing/2014/main" id="{973AFCC4-A50F-4B89-9F66-FAF5189135C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870826" y="3627438"/>
                  <a:ext cx="101600" cy="100013"/>
                </a:xfrm>
                <a:custGeom>
                  <a:avLst/>
                  <a:gdLst>
                    <a:gd name="T0" fmla="*/ 20 w 64"/>
                    <a:gd name="T1" fmla="*/ 63 h 63"/>
                    <a:gd name="T2" fmla="*/ 0 w 64"/>
                    <a:gd name="T3" fmla="*/ 41 h 63"/>
                    <a:gd name="T4" fmla="*/ 44 w 64"/>
                    <a:gd name="T5" fmla="*/ 0 h 63"/>
                    <a:gd name="T6" fmla="*/ 64 w 64"/>
                    <a:gd name="T7" fmla="*/ 24 h 63"/>
                    <a:gd name="T8" fmla="*/ 20 w 64"/>
                    <a:gd name="T9" fmla="*/ 63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4" h="63">
                      <a:moveTo>
                        <a:pt x="20" y="63"/>
                      </a:moveTo>
                      <a:lnTo>
                        <a:pt x="0" y="41"/>
                      </a:lnTo>
                      <a:lnTo>
                        <a:pt x="44" y="0"/>
                      </a:lnTo>
                      <a:lnTo>
                        <a:pt x="64" y="24"/>
                      </a:lnTo>
                      <a:lnTo>
                        <a:pt x="20" y="6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54" name="Freeform 276">
                  <a:extLst>
                    <a:ext uri="{FF2B5EF4-FFF2-40B4-BE49-F238E27FC236}">
                      <a16:creationId xmlns:a16="http://schemas.microsoft.com/office/drawing/2014/main" id="{045645C6-3246-40C3-8BB4-A7D1CC944CB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008938" y="3748088"/>
                  <a:ext cx="96838" cy="106363"/>
                </a:xfrm>
                <a:custGeom>
                  <a:avLst/>
                  <a:gdLst>
                    <a:gd name="T0" fmla="*/ 26 w 61"/>
                    <a:gd name="T1" fmla="*/ 67 h 67"/>
                    <a:gd name="T2" fmla="*/ 0 w 61"/>
                    <a:gd name="T3" fmla="*/ 48 h 67"/>
                    <a:gd name="T4" fmla="*/ 37 w 61"/>
                    <a:gd name="T5" fmla="*/ 0 h 67"/>
                    <a:gd name="T6" fmla="*/ 61 w 61"/>
                    <a:gd name="T7" fmla="*/ 17 h 67"/>
                    <a:gd name="T8" fmla="*/ 26 w 61"/>
                    <a:gd name="T9" fmla="*/ 67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1" h="67">
                      <a:moveTo>
                        <a:pt x="26" y="67"/>
                      </a:moveTo>
                      <a:lnTo>
                        <a:pt x="0" y="48"/>
                      </a:lnTo>
                      <a:lnTo>
                        <a:pt x="37" y="0"/>
                      </a:lnTo>
                      <a:lnTo>
                        <a:pt x="61" y="17"/>
                      </a:lnTo>
                      <a:lnTo>
                        <a:pt x="26" y="67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3BFBFF1D-6A37-45C6-ACD9-C2169BB03779}"/>
                </a:ext>
              </a:extLst>
            </p:cNvPr>
            <p:cNvSpPr/>
            <p:nvPr/>
          </p:nvSpPr>
          <p:spPr>
            <a:xfrm>
              <a:off x="6953285" y="4801999"/>
              <a:ext cx="1476883" cy="149766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endParaRPr>
            </a:p>
          </p:txBody>
        </p:sp>
      </p:grp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F04A6D5B-C512-43F6-8853-D13870CA10B3}"/>
              </a:ext>
            </a:extLst>
          </p:cNvPr>
          <p:cNvCxnSpPr>
            <a:cxnSpLocks/>
            <a:stCxn id="7" idx="56"/>
          </p:cNvCxnSpPr>
          <p:nvPr userDrawn="1"/>
        </p:nvCxnSpPr>
        <p:spPr>
          <a:xfrm>
            <a:off x="8922139" y="4968552"/>
            <a:ext cx="3269861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0358A89B-C4A0-4BF6-A7C2-3F1B9632BFBB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4628982"/>
            <a:ext cx="7894216" cy="80992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 Placeholder 58">
            <a:extLst>
              <a:ext uri="{FF2B5EF4-FFF2-40B4-BE49-F238E27FC236}">
                <a16:creationId xmlns:a16="http://schemas.microsoft.com/office/drawing/2014/main" id="{D8A7A6F7-5F58-448E-ABB3-AECDCAC6588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52500" y="1206500"/>
            <a:ext cx="5337175" cy="2257425"/>
          </a:xfrm>
        </p:spPr>
        <p:txBody>
          <a:bodyPr/>
          <a:lstStyle>
            <a:lvl1pPr marL="0" indent="0">
              <a:buNone/>
              <a:defRPr sz="6600">
                <a:latin typeface="Open Sans" panose="020B0606030504020204" pitchFamily="34" charset="0"/>
              </a:defRPr>
            </a:lvl1pPr>
          </a:lstStyle>
          <a:p>
            <a:pPr lvl="0"/>
            <a:r>
              <a:rPr lang="en-US" sz="6600">
                <a:latin typeface="+mj-lt"/>
              </a:rPr>
              <a:t>Section Header</a:t>
            </a:r>
            <a:endParaRPr lang="en-US"/>
          </a:p>
        </p:txBody>
      </p:sp>
      <p:sp>
        <p:nvSpPr>
          <p:cNvPr id="57" name="Text Placeholder 7">
            <a:extLst>
              <a:ext uri="{FF2B5EF4-FFF2-40B4-BE49-F238E27FC236}">
                <a16:creationId xmlns:a16="http://schemas.microsoft.com/office/drawing/2014/main" id="{7E2580EE-453B-42D2-AD68-4C5613CA2ED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057884" y="219411"/>
            <a:ext cx="1635171" cy="237789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Insert Breadcrumbs</a:t>
            </a:r>
          </a:p>
        </p:txBody>
      </p:sp>
    </p:spTree>
    <p:extLst>
      <p:ext uri="{BB962C8B-B14F-4D97-AF65-F5344CB8AC3E}">
        <p14:creationId xmlns:p14="http://schemas.microsoft.com/office/powerpoint/2010/main" val="1680571421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, No Background Graph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EFC2F98-5944-4C9B-A2C3-BF4DC0C7C3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19921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EFC2F98-5944-4C9B-A2C3-BF4DC0C7C3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0760EE67-862F-4DBB-A5AC-7C7E8FBAA61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057884" y="219411"/>
            <a:ext cx="1635171" cy="237789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Insert Breadcrumbs</a:t>
            </a:r>
          </a:p>
        </p:txBody>
      </p:sp>
    </p:spTree>
    <p:extLst>
      <p:ext uri="{BB962C8B-B14F-4D97-AF65-F5344CB8AC3E}">
        <p14:creationId xmlns:p14="http://schemas.microsoft.com/office/powerpoint/2010/main" val="608729006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1EC4E0CA-C26C-411C-9985-C7C8AC484F9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057884" y="219411"/>
            <a:ext cx="1635171" cy="237789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Insert Breadcrumbs</a:t>
            </a:r>
          </a:p>
        </p:txBody>
      </p:sp>
    </p:spTree>
    <p:extLst>
      <p:ext uri="{BB962C8B-B14F-4D97-AF65-F5344CB8AC3E}">
        <p14:creationId xmlns:p14="http://schemas.microsoft.com/office/powerpoint/2010/main" val="2693401757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0213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899" y="3423545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  <a:latin typeface="Open Sans" panose="020B0606030504020204" pitchFamily="34" charset="0"/>
              </a:rPr>
              <a:t>Presentation title</a:t>
            </a:r>
            <a:br>
              <a:rPr lang="en-US" sz="650" noProof="0">
                <a:solidFill>
                  <a:schemeClr val="bg1"/>
                </a:solidFill>
                <a:latin typeface="Open Sans" panose="020B0606030504020204" pitchFamily="34" charset="0"/>
              </a:rPr>
            </a:br>
            <a:r>
              <a:rPr lang="en-US" sz="650" noProof="0">
                <a:solidFill>
                  <a:schemeClr val="bg1"/>
                </a:solidFill>
                <a:latin typeface="Open Sans" panose="020B0606030504020204" pitchFamily="34" charset="0"/>
              </a:rPr>
              <a:t>[To edit, click View &gt; Slide Master &gt; Slide Master]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  <a:latin typeface="Open Sans" panose="020B0606030504020204" pitchFamily="34" charset="0"/>
              </a:rPr>
              <a:t>Member firms and DTTL: Insert appropriate copyright</a:t>
            </a:r>
            <a:br>
              <a:rPr lang="en-US" sz="650" noProof="0">
                <a:solidFill>
                  <a:schemeClr val="bg1"/>
                </a:solidFill>
                <a:latin typeface="Open Sans" panose="020B0606030504020204" pitchFamily="34" charset="0"/>
              </a:rPr>
            </a:br>
            <a:r>
              <a:rPr lang="en-US" sz="650" noProof="0">
                <a:solidFill>
                  <a:schemeClr val="bg1"/>
                </a:solidFill>
                <a:latin typeface="Open Sans" panose="020B0606030504020204" pitchFamily="34" charset="0"/>
              </a:rPr>
              <a:t>[To edit, click View &gt; Slide Master &gt; Slide Master]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  <a:latin typeface="Open Sans" panose="020B0606030504020204" pitchFamily="34" charset="0"/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  <a:latin typeface="Open Sans" panose="020B0606030504020204" pitchFamily="34" charset="0"/>
            </a:endParaRP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E77D4119-2F7C-44CA-BD81-CF179D3FCE5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057884" y="219411"/>
            <a:ext cx="1635171" cy="237789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Insert Breadcrumbs</a:t>
            </a:r>
          </a:p>
        </p:txBody>
      </p:sp>
    </p:spTree>
    <p:extLst>
      <p:ext uri="{BB962C8B-B14F-4D97-AF65-F5344CB8AC3E}">
        <p14:creationId xmlns:p14="http://schemas.microsoft.com/office/powerpoint/2010/main" val="191978631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1AC8F787-64B6-4072-A490-4E1EA3712B5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057884" y="219411"/>
            <a:ext cx="1635171" cy="237789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Insert Breadcrumbs</a:t>
            </a:r>
          </a:p>
        </p:txBody>
      </p:sp>
    </p:spTree>
    <p:extLst>
      <p:ext uri="{BB962C8B-B14F-4D97-AF65-F5344CB8AC3E}">
        <p14:creationId xmlns:p14="http://schemas.microsoft.com/office/powerpoint/2010/main" val="1318078701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694944"/>
            <a:ext cx="10363200" cy="594360"/>
          </a:xfrm>
        </p:spPr>
        <p:txBody>
          <a:bodyPr vert="horz" lIns="0" tIns="45720" rIns="0" bIns="0" rtlCol="0" anchor="b" anchorCtr="0">
            <a:noAutofit/>
          </a:bodyPr>
          <a:lstStyle>
            <a:lvl1pPr>
              <a:defRPr lang="en-US" sz="3600" b="0" spc="-75" dirty="0">
                <a:latin typeface="Open Sans" panose="020B0606030504020204" pitchFamily="34" charset="0"/>
              </a:defRPr>
            </a:lvl1pPr>
          </a:lstStyle>
          <a:p>
            <a:pPr lvl="0" defTabSz="685800">
              <a:lnSpc>
                <a:spcPct val="85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96511F54-3D9D-4C2F-A27D-0616F2C1002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057884" y="219411"/>
            <a:ext cx="1635171" cy="237789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Insert Breadcrumbs</a:t>
            </a:r>
          </a:p>
        </p:txBody>
      </p:sp>
    </p:spTree>
    <p:extLst>
      <p:ext uri="{BB962C8B-B14F-4D97-AF65-F5344CB8AC3E}">
        <p14:creationId xmlns:p14="http://schemas.microsoft.com/office/powerpoint/2010/main" val="359465562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Breadcrumb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694944"/>
            <a:ext cx="10363200" cy="594360"/>
          </a:xfrm>
        </p:spPr>
        <p:txBody>
          <a:bodyPr vert="horz" lIns="0" tIns="45720" rIns="0" bIns="0" rtlCol="0" anchor="b" anchorCtr="0">
            <a:noAutofit/>
          </a:bodyPr>
          <a:lstStyle>
            <a:lvl1pPr>
              <a:defRPr lang="en-US" sz="3600" b="0" spc="-75" dirty="0">
                <a:latin typeface="Open Sans" panose="020B0606030504020204" pitchFamily="34" charset="0"/>
              </a:defRPr>
            </a:lvl1pPr>
          </a:lstStyle>
          <a:p>
            <a:pPr lvl="0" defTabSz="685800">
              <a:lnSpc>
                <a:spcPct val="85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FD545910-EC58-4E59-AC9B-9F096DAB358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4971" y="466344"/>
            <a:ext cx="3355848" cy="203200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900" b="1" kern="0" cap="all" spc="250" baseline="0" dirty="0">
                <a:solidFill>
                  <a:schemeClr val="accent5">
                    <a:lumMod val="60000"/>
                    <a:lumOff val="40000"/>
                  </a:schemeClr>
                </a:solidFill>
                <a:ea typeface="Nexa Black" charset="0"/>
                <a:cs typeface="Nexa Black" charset="0"/>
              </a:defRPr>
            </a:lvl1pPr>
          </a:lstStyle>
          <a:p>
            <a:pPr marL="228600" lvl="0" indent="-228600"/>
            <a:r>
              <a:rPr lang="en-US"/>
              <a:t>BREADCRUMBS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61189201-24F5-46C3-BB34-06B1CC81066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057884" y="219411"/>
            <a:ext cx="1635171" cy="237789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Insert Breadcrumbs</a:t>
            </a:r>
          </a:p>
        </p:txBody>
      </p:sp>
    </p:spTree>
    <p:extLst>
      <p:ext uri="{BB962C8B-B14F-4D97-AF65-F5344CB8AC3E}">
        <p14:creationId xmlns:p14="http://schemas.microsoft.com/office/powerpoint/2010/main" val="1783772980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Right, Subhead &amp; Breadcrumb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B912B5A-4EFE-4F10-9322-C971DDF230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222995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B912B5A-4EFE-4F10-9322-C971DDF230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CF43516-C935-4785-8727-EA48BADEDCC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hronicle Display Black" pitchFamily="50" charset="0"/>
              <a:sym typeface="Chronicle Display Black" pitchFamily="50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DFAB292-D9D0-4411-8456-90C02DB401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0" y="669544"/>
            <a:ext cx="6137512" cy="38139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838CA61B-8DBB-4395-9E9F-405E5CBF79F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4806950" cy="6858000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accent6"/>
                </a:solidFill>
              </a:defRPr>
            </a:lvl1pPr>
          </a:lstStyle>
          <a:p>
            <a:r>
              <a:rPr lang="en-US"/>
              <a:t>Click to insert pictur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6650516E-641C-4EFA-8CA7-4E0C60B42CE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97500" y="1050936"/>
            <a:ext cx="6137512" cy="381392"/>
          </a:xfrm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sz="1400"/>
              <a:t>Click to edit Master text styles</a:t>
            </a:r>
            <a:endParaRPr lang="en-US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E0280C66-47F5-4458-AA31-95CF3025E37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397500" y="466344"/>
            <a:ext cx="3355848" cy="203200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900" b="1" kern="0" cap="all" spc="250" baseline="0" dirty="0">
                <a:solidFill>
                  <a:schemeClr val="accent5">
                    <a:lumMod val="60000"/>
                    <a:lumOff val="40000"/>
                  </a:schemeClr>
                </a:solidFill>
                <a:ea typeface="Nexa Black" charset="0"/>
                <a:cs typeface="Nexa Black" charset="0"/>
              </a:defRPr>
            </a:lvl1pPr>
          </a:lstStyle>
          <a:p>
            <a:pPr marL="228600" lvl="0" indent="-228600"/>
            <a:r>
              <a:rPr lang="en-US"/>
              <a:t>BREADCRUMBS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EE9AEBC7-5210-42A0-91DE-A585F0B3984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057884" y="219411"/>
            <a:ext cx="1635171" cy="237789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Insert Breadcrumbs</a:t>
            </a:r>
          </a:p>
        </p:txBody>
      </p:sp>
    </p:spTree>
    <p:extLst>
      <p:ext uri="{BB962C8B-B14F-4D97-AF65-F5344CB8AC3E}">
        <p14:creationId xmlns:p14="http://schemas.microsoft.com/office/powerpoint/2010/main" val="4043590578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Divider">
    <p:bg>
      <p:bgPr>
        <a:solidFill>
          <a:srgbClr val="FDD3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44B521E-45B1-4DF5-AF83-CF81FF72A0A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60235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5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44B521E-45B1-4DF5-AF83-CF81FF72A0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3">
            <a:extLst>
              <a:ext uri="{FF2B5EF4-FFF2-40B4-BE49-F238E27FC236}">
                <a16:creationId xmlns:a16="http://schemas.microsoft.com/office/drawing/2014/main" id="{B9F01BCD-D0E7-4C16-818C-FDF6C61207F4}"/>
              </a:ext>
            </a:extLst>
          </p:cNvPr>
          <p:cNvGrpSpPr/>
          <p:nvPr userDrawn="1"/>
        </p:nvGrpSpPr>
        <p:grpSpPr>
          <a:xfrm>
            <a:off x="6591045" y="2239972"/>
            <a:ext cx="2452738" cy="2728580"/>
            <a:chOff x="6953285" y="3278976"/>
            <a:chExt cx="1506831" cy="1682464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035AD732-4189-4F7D-8A59-BEA1A0C74690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291345" y="3278976"/>
              <a:ext cx="1168771" cy="1682464"/>
              <a:chOff x="5614264" y="2194216"/>
              <a:chExt cx="2755900" cy="3967163"/>
            </a:xfrm>
          </p:grpSpPr>
          <p:sp>
            <p:nvSpPr>
              <p:cNvPr id="7" name="Freeform 55">
                <a:extLst>
                  <a:ext uri="{FF2B5EF4-FFF2-40B4-BE49-F238E27FC236}">
                    <a16:creationId xmlns:a16="http://schemas.microsoft.com/office/drawing/2014/main" id="{4E44469E-381F-4E01-A7CB-1C0D52CCBF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14264" y="2194216"/>
                <a:ext cx="2755900" cy="3967163"/>
              </a:xfrm>
              <a:custGeom>
                <a:avLst/>
                <a:gdLst>
                  <a:gd name="T0" fmla="*/ 1484 w 1736"/>
                  <a:gd name="T1" fmla="*/ 1601 h 2499"/>
                  <a:gd name="T2" fmla="*/ 1675 w 1736"/>
                  <a:gd name="T3" fmla="*/ 999 h 2499"/>
                  <a:gd name="T4" fmla="*/ 1696 w 1736"/>
                  <a:gd name="T5" fmla="*/ 908 h 2499"/>
                  <a:gd name="T6" fmla="*/ 1705 w 1736"/>
                  <a:gd name="T7" fmla="*/ 815 h 2499"/>
                  <a:gd name="T8" fmla="*/ 1705 w 1736"/>
                  <a:gd name="T9" fmla="*/ 745 h 2499"/>
                  <a:gd name="T10" fmla="*/ 1690 w 1736"/>
                  <a:gd name="T11" fmla="*/ 632 h 2499"/>
                  <a:gd name="T12" fmla="*/ 1660 w 1736"/>
                  <a:gd name="T13" fmla="*/ 526 h 2499"/>
                  <a:gd name="T14" fmla="*/ 1614 w 1736"/>
                  <a:gd name="T15" fmla="*/ 424 h 2499"/>
                  <a:gd name="T16" fmla="*/ 1555 w 1736"/>
                  <a:gd name="T17" fmla="*/ 334 h 2499"/>
                  <a:gd name="T18" fmla="*/ 1484 w 1736"/>
                  <a:gd name="T19" fmla="*/ 252 h 2499"/>
                  <a:gd name="T20" fmla="*/ 1403 w 1736"/>
                  <a:gd name="T21" fmla="*/ 180 h 2499"/>
                  <a:gd name="T22" fmla="*/ 1310 w 1736"/>
                  <a:gd name="T23" fmla="*/ 122 h 2499"/>
                  <a:gd name="T24" fmla="*/ 1210 w 1736"/>
                  <a:gd name="T25" fmla="*/ 76 h 2499"/>
                  <a:gd name="T26" fmla="*/ 1103 w 1736"/>
                  <a:gd name="T27" fmla="*/ 46 h 2499"/>
                  <a:gd name="T28" fmla="*/ 990 w 1736"/>
                  <a:gd name="T29" fmla="*/ 32 h 2499"/>
                  <a:gd name="T30" fmla="*/ 914 w 1736"/>
                  <a:gd name="T31" fmla="*/ 32 h 2499"/>
                  <a:gd name="T32" fmla="*/ 801 w 1736"/>
                  <a:gd name="T33" fmla="*/ 46 h 2499"/>
                  <a:gd name="T34" fmla="*/ 693 w 1736"/>
                  <a:gd name="T35" fmla="*/ 76 h 2499"/>
                  <a:gd name="T36" fmla="*/ 593 w 1736"/>
                  <a:gd name="T37" fmla="*/ 122 h 2499"/>
                  <a:gd name="T38" fmla="*/ 500 w 1736"/>
                  <a:gd name="T39" fmla="*/ 180 h 2499"/>
                  <a:gd name="T40" fmla="*/ 419 w 1736"/>
                  <a:gd name="T41" fmla="*/ 252 h 2499"/>
                  <a:gd name="T42" fmla="*/ 349 w 1736"/>
                  <a:gd name="T43" fmla="*/ 334 h 2499"/>
                  <a:gd name="T44" fmla="*/ 289 w 1736"/>
                  <a:gd name="T45" fmla="*/ 424 h 2499"/>
                  <a:gd name="T46" fmla="*/ 243 w 1736"/>
                  <a:gd name="T47" fmla="*/ 526 h 2499"/>
                  <a:gd name="T48" fmla="*/ 213 w 1736"/>
                  <a:gd name="T49" fmla="*/ 632 h 2499"/>
                  <a:gd name="T50" fmla="*/ 198 w 1736"/>
                  <a:gd name="T51" fmla="*/ 745 h 2499"/>
                  <a:gd name="T52" fmla="*/ 197 w 1736"/>
                  <a:gd name="T53" fmla="*/ 882 h 2499"/>
                  <a:gd name="T54" fmla="*/ 265 w 1736"/>
                  <a:gd name="T55" fmla="*/ 1845 h 2499"/>
                  <a:gd name="T56" fmla="*/ 658 w 1736"/>
                  <a:gd name="T57" fmla="*/ 2188 h 2499"/>
                  <a:gd name="T58" fmla="*/ 198 w 1736"/>
                  <a:gd name="T59" fmla="*/ 1391 h 2499"/>
                  <a:gd name="T60" fmla="*/ 167 w 1736"/>
                  <a:gd name="T61" fmla="*/ 784 h 2499"/>
                  <a:gd name="T62" fmla="*/ 172 w 1736"/>
                  <a:gd name="T63" fmla="*/ 704 h 2499"/>
                  <a:gd name="T64" fmla="*/ 193 w 1736"/>
                  <a:gd name="T65" fmla="*/ 589 h 2499"/>
                  <a:gd name="T66" fmla="*/ 230 w 1736"/>
                  <a:gd name="T67" fmla="*/ 480 h 2499"/>
                  <a:gd name="T68" fmla="*/ 282 w 1736"/>
                  <a:gd name="T69" fmla="*/ 378 h 2499"/>
                  <a:gd name="T70" fmla="*/ 347 w 1736"/>
                  <a:gd name="T71" fmla="*/ 285 h 2499"/>
                  <a:gd name="T72" fmla="*/ 424 w 1736"/>
                  <a:gd name="T73" fmla="*/ 204 h 2499"/>
                  <a:gd name="T74" fmla="*/ 513 w 1736"/>
                  <a:gd name="T75" fmla="*/ 133 h 2499"/>
                  <a:gd name="T76" fmla="*/ 612 w 1736"/>
                  <a:gd name="T77" fmla="*/ 78 h 2499"/>
                  <a:gd name="T78" fmla="*/ 719 w 1736"/>
                  <a:gd name="T79" fmla="*/ 35 h 2499"/>
                  <a:gd name="T80" fmla="*/ 832 w 1736"/>
                  <a:gd name="T81" fmla="*/ 9 h 2499"/>
                  <a:gd name="T82" fmla="*/ 953 w 1736"/>
                  <a:gd name="T83" fmla="*/ 0 h 2499"/>
                  <a:gd name="T84" fmla="*/ 1032 w 1736"/>
                  <a:gd name="T85" fmla="*/ 4 h 2499"/>
                  <a:gd name="T86" fmla="*/ 1147 w 1736"/>
                  <a:gd name="T87" fmla="*/ 24 h 2499"/>
                  <a:gd name="T88" fmla="*/ 1256 w 1736"/>
                  <a:gd name="T89" fmla="*/ 61 h 2499"/>
                  <a:gd name="T90" fmla="*/ 1358 w 1736"/>
                  <a:gd name="T91" fmla="*/ 113 h 2499"/>
                  <a:gd name="T92" fmla="*/ 1451 w 1736"/>
                  <a:gd name="T93" fmla="*/ 180 h 2499"/>
                  <a:gd name="T94" fmla="*/ 1532 w 1736"/>
                  <a:gd name="T95" fmla="*/ 258 h 2499"/>
                  <a:gd name="T96" fmla="*/ 1601 w 1736"/>
                  <a:gd name="T97" fmla="*/ 346 h 2499"/>
                  <a:gd name="T98" fmla="*/ 1658 w 1736"/>
                  <a:gd name="T99" fmla="*/ 445 h 2499"/>
                  <a:gd name="T100" fmla="*/ 1701 w 1736"/>
                  <a:gd name="T101" fmla="*/ 552 h 2499"/>
                  <a:gd name="T102" fmla="*/ 1727 w 1736"/>
                  <a:gd name="T103" fmla="*/ 665 h 2499"/>
                  <a:gd name="T104" fmla="*/ 1736 w 1736"/>
                  <a:gd name="T105" fmla="*/ 784 h 2499"/>
                  <a:gd name="T106" fmla="*/ 1733 w 1736"/>
                  <a:gd name="T107" fmla="*/ 849 h 2499"/>
                  <a:gd name="T108" fmla="*/ 1720 w 1736"/>
                  <a:gd name="T109" fmla="*/ 945 h 2499"/>
                  <a:gd name="T110" fmla="*/ 1694 w 1736"/>
                  <a:gd name="T111" fmla="*/ 1038 h 2499"/>
                  <a:gd name="T112" fmla="*/ 1625 w 1736"/>
                  <a:gd name="T113" fmla="*/ 2499 h 24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736" h="2499">
                    <a:moveTo>
                      <a:pt x="1625" y="2499"/>
                    </a:moveTo>
                    <a:lnTo>
                      <a:pt x="1484" y="1603"/>
                    </a:lnTo>
                    <a:lnTo>
                      <a:pt x="1484" y="1601"/>
                    </a:lnTo>
                    <a:lnTo>
                      <a:pt x="1664" y="1028"/>
                    </a:lnTo>
                    <a:lnTo>
                      <a:pt x="1664" y="1028"/>
                    </a:lnTo>
                    <a:lnTo>
                      <a:pt x="1675" y="999"/>
                    </a:lnTo>
                    <a:lnTo>
                      <a:pt x="1683" y="969"/>
                    </a:lnTo>
                    <a:lnTo>
                      <a:pt x="1690" y="939"/>
                    </a:lnTo>
                    <a:lnTo>
                      <a:pt x="1696" y="908"/>
                    </a:lnTo>
                    <a:lnTo>
                      <a:pt x="1699" y="878"/>
                    </a:lnTo>
                    <a:lnTo>
                      <a:pt x="1703" y="847"/>
                    </a:lnTo>
                    <a:lnTo>
                      <a:pt x="1705" y="815"/>
                    </a:lnTo>
                    <a:lnTo>
                      <a:pt x="1705" y="784"/>
                    </a:lnTo>
                    <a:lnTo>
                      <a:pt x="1705" y="784"/>
                    </a:lnTo>
                    <a:lnTo>
                      <a:pt x="1705" y="745"/>
                    </a:lnTo>
                    <a:lnTo>
                      <a:pt x="1701" y="708"/>
                    </a:lnTo>
                    <a:lnTo>
                      <a:pt x="1697" y="669"/>
                    </a:lnTo>
                    <a:lnTo>
                      <a:pt x="1690" y="632"/>
                    </a:lnTo>
                    <a:lnTo>
                      <a:pt x="1683" y="597"/>
                    </a:lnTo>
                    <a:lnTo>
                      <a:pt x="1671" y="560"/>
                    </a:lnTo>
                    <a:lnTo>
                      <a:pt x="1660" y="526"/>
                    </a:lnTo>
                    <a:lnTo>
                      <a:pt x="1645" y="491"/>
                    </a:lnTo>
                    <a:lnTo>
                      <a:pt x="1631" y="458"/>
                    </a:lnTo>
                    <a:lnTo>
                      <a:pt x="1614" y="424"/>
                    </a:lnTo>
                    <a:lnTo>
                      <a:pt x="1595" y="393"/>
                    </a:lnTo>
                    <a:lnTo>
                      <a:pt x="1577" y="363"/>
                    </a:lnTo>
                    <a:lnTo>
                      <a:pt x="1555" y="334"/>
                    </a:lnTo>
                    <a:lnTo>
                      <a:pt x="1532" y="306"/>
                    </a:lnTo>
                    <a:lnTo>
                      <a:pt x="1510" y="278"/>
                    </a:lnTo>
                    <a:lnTo>
                      <a:pt x="1484" y="252"/>
                    </a:lnTo>
                    <a:lnTo>
                      <a:pt x="1458" y="226"/>
                    </a:lnTo>
                    <a:lnTo>
                      <a:pt x="1431" y="202"/>
                    </a:lnTo>
                    <a:lnTo>
                      <a:pt x="1403" y="180"/>
                    </a:lnTo>
                    <a:lnTo>
                      <a:pt x="1373" y="159"/>
                    </a:lnTo>
                    <a:lnTo>
                      <a:pt x="1342" y="139"/>
                    </a:lnTo>
                    <a:lnTo>
                      <a:pt x="1310" y="122"/>
                    </a:lnTo>
                    <a:lnTo>
                      <a:pt x="1279" y="106"/>
                    </a:lnTo>
                    <a:lnTo>
                      <a:pt x="1245" y="89"/>
                    </a:lnTo>
                    <a:lnTo>
                      <a:pt x="1210" y="76"/>
                    </a:lnTo>
                    <a:lnTo>
                      <a:pt x="1175" y="65"/>
                    </a:lnTo>
                    <a:lnTo>
                      <a:pt x="1140" y="54"/>
                    </a:lnTo>
                    <a:lnTo>
                      <a:pt x="1103" y="46"/>
                    </a:lnTo>
                    <a:lnTo>
                      <a:pt x="1066" y="39"/>
                    </a:lnTo>
                    <a:lnTo>
                      <a:pt x="1028" y="35"/>
                    </a:lnTo>
                    <a:lnTo>
                      <a:pt x="990" y="32"/>
                    </a:lnTo>
                    <a:lnTo>
                      <a:pt x="953" y="30"/>
                    </a:lnTo>
                    <a:lnTo>
                      <a:pt x="953" y="30"/>
                    </a:lnTo>
                    <a:lnTo>
                      <a:pt x="914" y="32"/>
                    </a:lnTo>
                    <a:lnTo>
                      <a:pt x="875" y="35"/>
                    </a:lnTo>
                    <a:lnTo>
                      <a:pt x="838" y="39"/>
                    </a:lnTo>
                    <a:lnTo>
                      <a:pt x="801" y="46"/>
                    </a:lnTo>
                    <a:lnTo>
                      <a:pt x="764" y="54"/>
                    </a:lnTo>
                    <a:lnTo>
                      <a:pt x="728" y="65"/>
                    </a:lnTo>
                    <a:lnTo>
                      <a:pt x="693" y="76"/>
                    </a:lnTo>
                    <a:lnTo>
                      <a:pt x="658" y="89"/>
                    </a:lnTo>
                    <a:lnTo>
                      <a:pt x="625" y="106"/>
                    </a:lnTo>
                    <a:lnTo>
                      <a:pt x="593" y="122"/>
                    </a:lnTo>
                    <a:lnTo>
                      <a:pt x="562" y="139"/>
                    </a:lnTo>
                    <a:lnTo>
                      <a:pt x="530" y="159"/>
                    </a:lnTo>
                    <a:lnTo>
                      <a:pt x="500" y="180"/>
                    </a:lnTo>
                    <a:lnTo>
                      <a:pt x="473" y="202"/>
                    </a:lnTo>
                    <a:lnTo>
                      <a:pt x="445" y="226"/>
                    </a:lnTo>
                    <a:lnTo>
                      <a:pt x="419" y="252"/>
                    </a:lnTo>
                    <a:lnTo>
                      <a:pt x="395" y="278"/>
                    </a:lnTo>
                    <a:lnTo>
                      <a:pt x="371" y="306"/>
                    </a:lnTo>
                    <a:lnTo>
                      <a:pt x="349" y="334"/>
                    </a:lnTo>
                    <a:lnTo>
                      <a:pt x="326" y="363"/>
                    </a:lnTo>
                    <a:lnTo>
                      <a:pt x="308" y="393"/>
                    </a:lnTo>
                    <a:lnTo>
                      <a:pt x="289" y="424"/>
                    </a:lnTo>
                    <a:lnTo>
                      <a:pt x="273" y="458"/>
                    </a:lnTo>
                    <a:lnTo>
                      <a:pt x="258" y="491"/>
                    </a:lnTo>
                    <a:lnTo>
                      <a:pt x="243" y="526"/>
                    </a:lnTo>
                    <a:lnTo>
                      <a:pt x="232" y="560"/>
                    </a:lnTo>
                    <a:lnTo>
                      <a:pt x="223" y="597"/>
                    </a:lnTo>
                    <a:lnTo>
                      <a:pt x="213" y="632"/>
                    </a:lnTo>
                    <a:lnTo>
                      <a:pt x="206" y="669"/>
                    </a:lnTo>
                    <a:lnTo>
                      <a:pt x="202" y="708"/>
                    </a:lnTo>
                    <a:lnTo>
                      <a:pt x="198" y="745"/>
                    </a:lnTo>
                    <a:lnTo>
                      <a:pt x="198" y="784"/>
                    </a:lnTo>
                    <a:lnTo>
                      <a:pt x="197" y="878"/>
                    </a:lnTo>
                    <a:lnTo>
                      <a:pt x="197" y="882"/>
                    </a:lnTo>
                    <a:lnTo>
                      <a:pt x="41" y="1360"/>
                    </a:lnTo>
                    <a:lnTo>
                      <a:pt x="226" y="1360"/>
                    </a:lnTo>
                    <a:lnTo>
                      <a:pt x="265" y="1845"/>
                    </a:lnTo>
                    <a:lnTo>
                      <a:pt x="632" y="1801"/>
                    </a:lnTo>
                    <a:lnTo>
                      <a:pt x="688" y="2183"/>
                    </a:lnTo>
                    <a:lnTo>
                      <a:pt x="658" y="2188"/>
                    </a:lnTo>
                    <a:lnTo>
                      <a:pt x="606" y="1834"/>
                    </a:lnTo>
                    <a:lnTo>
                      <a:pt x="237" y="1879"/>
                    </a:lnTo>
                    <a:lnTo>
                      <a:pt x="198" y="1391"/>
                    </a:lnTo>
                    <a:lnTo>
                      <a:pt x="0" y="1391"/>
                    </a:lnTo>
                    <a:lnTo>
                      <a:pt x="167" y="875"/>
                    </a:lnTo>
                    <a:lnTo>
                      <a:pt x="167" y="784"/>
                    </a:lnTo>
                    <a:lnTo>
                      <a:pt x="167" y="784"/>
                    </a:lnTo>
                    <a:lnTo>
                      <a:pt x="169" y="743"/>
                    </a:lnTo>
                    <a:lnTo>
                      <a:pt x="172" y="704"/>
                    </a:lnTo>
                    <a:lnTo>
                      <a:pt x="176" y="665"/>
                    </a:lnTo>
                    <a:lnTo>
                      <a:pt x="184" y="626"/>
                    </a:lnTo>
                    <a:lnTo>
                      <a:pt x="193" y="589"/>
                    </a:lnTo>
                    <a:lnTo>
                      <a:pt x="202" y="552"/>
                    </a:lnTo>
                    <a:lnTo>
                      <a:pt x="215" y="515"/>
                    </a:lnTo>
                    <a:lnTo>
                      <a:pt x="230" y="480"/>
                    </a:lnTo>
                    <a:lnTo>
                      <a:pt x="245" y="445"/>
                    </a:lnTo>
                    <a:lnTo>
                      <a:pt x="263" y="411"/>
                    </a:lnTo>
                    <a:lnTo>
                      <a:pt x="282" y="378"/>
                    </a:lnTo>
                    <a:lnTo>
                      <a:pt x="302" y="346"/>
                    </a:lnTo>
                    <a:lnTo>
                      <a:pt x="324" y="315"/>
                    </a:lnTo>
                    <a:lnTo>
                      <a:pt x="347" y="285"/>
                    </a:lnTo>
                    <a:lnTo>
                      <a:pt x="371" y="258"/>
                    </a:lnTo>
                    <a:lnTo>
                      <a:pt x="397" y="230"/>
                    </a:lnTo>
                    <a:lnTo>
                      <a:pt x="424" y="204"/>
                    </a:lnTo>
                    <a:lnTo>
                      <a:pt x="454" y="180"/>
                    </a:lnTo>
                    <a:lnTo>
                      <a:pt x="484" y="156"/>
                    </a:lnTo>
                    <a:lnTo>
                      <a:pt x="513" y="133"/>
                    </a:lnTo>
                    <a:lnTo>
                      <a:pt x="545" y="113"/>
                    </a:lnTo>
                    <a:lnTo>
                      <a:pt x="578" y="95"/>
                    </a:lnTo>
                    <a:lnTo>
                      <a:pt x="612" y="78"/>
                    </a:lnTo>
                    <a:lnTo>
                      <a:pt x="647" y="61"/>
                    </a:lnTo>
                    <a:lnTo>
                      <a:pt x="682" y="48"/>
                    </a:lnTo>
                    <a:lnTo>
                      <a:pt x="719" y="35"/>
                    </a:lnTo>
                    <a:lnTo>
                      <a:pt x="756" y="24"/>
                    </a:lnTo>
                    <a:lnTo>
                      <a:pt x="793" y="17"/>
                    </a:lnTo>
                    <a:lnTo>
                      <a:pt x="832" y="9"/>
                    </a:lnTo>
                    <a:lnTo>
                      <a:pt x="871" y="4"/>
                    </a:lnTo>
                    <a:lnTo>
                      <a:pt x="912" y="2"/>
                    </a:lnTo>
                    <a:lnTo>
                      <a:pt x="953" y="0"/>
                    </a:lnTo>
                    <a:lnTo>
                      <a:pt x="953" y="0"/>
                    </a:lnTo>
                    <a:lnTo>
                      <a:pt x="991" y="2"/>
                    </a:lnTo>
                    <a:lnTo>
                      <a:pt x="1032" y="4"/>
                    </a:lnTo>
                    <a:lnTo>
                      <a:pt x="1071" y="9"/>
                    </a:lnTo>
                    <a:lnTo>
                      <a:pt x="1110" y="17"/>
                    </a:lnTo>
                    <a:lnTo>
                      <a:pt x="1147" y="24"/>
                    </a:lnTo>
                    <a:lnTo>
                      <a:pt x="1184" y="35"/>
                    </a:lnTo>
                    <a:lnTo>
                      <a:pt x="1221" y="48"/>
                    </a:lnTo>
                    <a:lnTo>
                      <a:pt x="1256" y="61"/>
                    </a:lnTo>
                    <a:lnTo>
                      <a:pt x="1292" y="78"/>
                    </a:lnTo>
                    <a:lnTo>
                      <a:pt x="1325" y="95"/>
                    </a:lnTo>
                    <a:lnTo>
                      <a:pt x="1358" y="113"/>
                    </a:lnTo>
                    <a:lnTo>
                      <a:pt x="1390" y="133"/>
                    </a:lnTo>
                    <a:lnTo>
                      <a:pt x="1421" y="156"/>
                    </a:lnTo>
                    <a:lnTo>
                      <a:pt x="1451" y="180"/>
                    </a:lnTo>
                    <a:lnTo>
                      <a:pt x="1479" y="204"/>
                    </a:lnTo>
                    <a:lnTo>
                      <a:pt x="1507" y="230"/>
                    </a:lnTo>
                    <a:lnTo>
                      <a:pt x="1532" y="258"/>
                    </a:lnTo>
                    <a:lnTo>
                      <a:pt x="1557" y="285"/>
                    </a:lnTo>
                    <a:lnTo>
                      <a:pt x="1581" y="315"/>
                    </a:lnTo>
                    <a:lnTo>
                      <a:pt x="1601" y="346"/>
                    </a:lnTo>
                    <a:lnTo>
                      <a:pt x="1621" y="378"/>
                    </a:lnTo>
                    <a:lnTo>
                      <a:pt x="1642" y="411"/>
                    </a:lnTo>
                    <a:lnTo>
                      <a:pt x="1658" y="445"/>
                    </a:lnTo>
                    <a:lnTo>
                      <a:pt x="1673" y="480"/>
                    </a:lnTo>
                    <a:lnTo>
                      <a:pt x="1688" y="515"/>
                    </a:lnTo>
                    <a:lnTo>
                      <a:pt x="1701" y="552"/>
                    </a:lnTo>
                    <a:lnTo>
                      <a:pt x="1710" y="589"/>
                    </a:lnTo>
                    <a:lnTo>
                      <a:pt x="1720" y="626"/>
                    </a:lnTo>
                    <a:lnTo>
                      <a:pt x="1727" y="665"/>
                    </a:lnTo>
                    <a:lnTo>
                      <a:pt x="1733" y="704"/>
                    </a:lnTo>
                    <a:lnTo>
                      <a:pt x="1734" y="745"/>
                    </a:lnTo>
                    <a:lnTo>
                      <a:pt x="1736" y="784"/>
                    </a:lnTo>
                    <a:lnTo>
                      <a:pt x="1736" y="784"/>
                    </a:lnTo>
                    <a:lnTo>
                      <a:pt x="1734" y="817"/>
                    </a:lnTo>
                    <a:lnTo>
                      <a:pt x="1733" y="849"/>
                    </a:lnTo>
                    <a:lnTo>
                      <a:pt x="1731" y="882"/>
                    </a:lnTo>
                    <a:lnTo>
                      <a:pt x="1725" y="913"/>
                    </a:lnTo>
                    <a:lnTo>
                      <a:pt x="1720" y="945"/>
                    </a:lnTo>
                    <a:lnTo>
                      <a:pt x="1712" y="976"/>
                    </a:lnTo>
                    <a:lnTo>
                      <a:pt x="1703" y="1008"/>
                    </a:lnTo>
                    <a:lnTo>
                      <a:pt x="1694" y="1038"/>
                    </a:lnTo>
                    <a:lnTo>
                      <a:pt x="1516" y="1604"/>
                    </a:lnTo>
                    <a:lnTo>
                      <a:pt x="1657" y="2494"/>
                    </a:lnTo>
                    <a:lnTo>
                      <a:pt x="1625" y="249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grpSp>
            <p:nvGrpSpPr>
              <p:cNvPr id="8" name="Group 7">
                <a:extLst>
                  <a:ext uri="{FF2B5EF4-FFF2-40B4-BE49-F238E27FC236}">
                    <a16:creationId xmlns:a16="http://schemas.microsoft.com/office/drawing/2014/main" id="{1884EB90-856A-4B3D-8C41-380E81E27851}"/>
                  </a:ext>
                </a:extLst>
              </p:cNvPr>
              <p:cNvGrpSpPr/>
              <p:nvPr/>
            </p:nvGrpSpPr>
            <p:grpSpPr>
              <a:xfrm>
                <a:off x="6207989" y="2521241"/>
                <a:ext cx="1833563" cy="3140075"/>
                <a:chOff x="7651751" y="2178051"/>
                <a:chExt cx="1833563" cy="3140075"/>
              </a:xfrm>
            </p:grpSpPr>
            <p:sp>
              <p:nvSpPr>
                <p:cNvPr id="9" name="Rectangle 8">
                  <a:extLst>
                    <a:ext uri="{FF2B5EF4-FFF2-40B4-BE49-F238E27FC236}">
                      <a16:creationId xmlns:a16="http://schemas.microsoft.com/office/drawing/2014/main" id="{5FF9FA55-6F13-46E9-B9A9-A10B60C42CD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4475163"/>
                  <a:ext cx="49213" cy="46038"/>
                </a:xfrm>
                <a:prstGeom prst="rect">
                  <a:avLst/>
                </a:prstGeom>
                <a:solidFill>
                  <a:srgbClr val="52585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0" name="Rectangle 9">
                  <a:extLst>
                    <a:ext uri="{FF2B5EF4-FFF2-40B4-BE49-F238E27FC236}">
                      <a16:creationId xmlns:a16="http://schemas.microsoft.com/office/drawing/2014/main" id="{5E05CB57-E35B-471D-BA9D-6AE183DE802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4575176"/>
                  <a:ext cx="49213" cy="46038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1" name="Rectangle 10">
                  <a:extLst>
                    <a:ext uri="{FF2B5EF4-FFF2-40B4-BE49-F238E27FC236}">
                      <a16:creationId xmlns:a16="http://schemas.microsoft.com/office/drawing/2014/main" id="{917B6F65-886C-4190-9FA3-150088DB411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4675188"/>
                  <a:ext cx="49213" cy="46038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2" name="Rectangle 11">
                  <a:extLst>
                    <a:ext uri="{FF2B5EF4-FFF2-40B4-BE49-F238E27FC236}">
                      <a16:creationId xmlns:a16="http://schemas.microsoft.com/office/drawing/2014/main" id="{D04EF3EF-7492-4924-B3E4-4CB85BE2936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4775201"/>
                  <a:ext cx="49213" cy="46038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3" name="Rectangle 12">
                  <a:extLst>
                    <a:ext uri="{FF2B5EF4-FFF2-40B4-BE49-F238E27FC236}">
                      <a16:creationId xmlns:a16="http://schemas.microsoft.com/office/drawing/2014/main" id="{DB852891-76E9-4DE8-99BB-C456338C691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4872038"/>
                  <a:ext cx="49213" cy="49213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4" name="Rectangle 13">
                  <a:extLst>
                    <a:ext uri="{FF2B5EF4-FFF2-40B4-BE49-F238E27FC236}">
                      <a16:creationId xmlns:a16="http://schemas.microsoft.com/office/drawing/2014/main" id="{76F966E4-BDBB-4EA2-AF2B-CE2D055C5C0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4972051"/>
                  <a:ext cx="49213" cy="49213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5" name="Rectangle 14">
                  <a:extLst>
                    <a:ext uri="{FF2B5EF4-FFF2-40B4-BE49-F238E27FC236}">
                      <a16:creationId xmlns:a16="http://schemas.microsoft.com/office/drawing/2014/main" id="{47D17988-145F-4083-A8C8-26E7E72E0F0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5072063"/>
                  <a:ext cx="49213" cy="49213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6" name="Rectangle 15">
                  <a:extLst>
                    <a:ext uri="{FF2B5EF4-FFF2-40B4-BE49-F238E27FC236}">
                      <a16:creationId xmlns:a16="http://schemas.microsoft.com/office/drawing/2014/main" id="{6132E3B0-8425-460B-B1F1-FCACFFD24B4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5172076"/>
                  <a:ext cx="49213" cy="49213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7" name="Rectangle 16">
                  <a:extLst>
                    <a:ext uri="{FF2B5EF4-FFF2-40B4-BE49-F238E27FC236}">
                      <a16:creationId xmlns:a16="http://schemas.microsoft.com/office/drawing/2014/main" id="{389052EF-3A92-42FF-A8F5-AE5C61CDE12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5272088"/>
                  <a:ext cx="49213" cy="46038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8" name="Freeform 240">
                  <a:extLst>
                    <a:ext uri="{FF2B5EF4-FFF2-40B4-BE49-F238E27FC236}">
                      <a16:creationId xmlns:a16="http://schemas.microsoft.com/office/drawing/2014/main" id="{2C35CD08-6BC0-4B8B-B687-87817D9AA06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881938" y="2409826"/>
                  <a:ext cx="1373188" cy="1693863"/>
                </a:xfrm>
                <a:custGeom>
                  <a:avLst/>
                  <a:gdLst>
                    <a:gd name="T0" fmla="*/ 434 w 865"/>
                    <a:gd name="T1" fmla="*/ 0 h 1067"/>
                    <a:gd name="T2" fmla="*/ 389 w 865"/>
                    <a:gd name="T3" fmla="*/ 2 h 1067"/>
                    <a:gd name="T4" fmla="*/ 304 w 865"/>
                    <a:gd name="T5" fmla="*/ 19 h 1067"/>
                    <a:gd name="T6" fmla="*/ 226 w 865"/>
                    <a:gd name="T7" fmla="*/ 52 h 1067"/>
                    <a:gd name="T8" fmla="*/ 157 w 865"/>
                    <a:gd name="T9" fmla="*/ 98 h 1067"/>
                    <a:gd name="T10" fmla="*/ 98 w 865"/>
                    <a:gd name="T11" fmla="*/ 158 h 1067"/>
                    <a:gd name="T12" fmla="*/ 52 w 865"/>
                    <a:gd name="T13" fmla="*/ 226 h 1067"/>
                    <a:gd name="T14" fmla="*/ 20 w 865"/>
                    <a:gd name="T15" fmla="*/ 304 h 1067"/>
                    <a:gd name="T16" fmla="*/ 2 w 865"/>
                    <a:gd name="T17" fmla="*/ 387 h 1067"/>
                    <a:gd name="T18" fmla="*/ 0 w 865"/>
                    <a:gd name="T19" fmla="*/ 432 h 1067"/>
                    <a:gd name="T20" fmla="*/ 0 w 865"/>
                    <a:gd name="T21" fmla="*/ 456 h 1067"/>
                    <a:gd name="T22" fmla="*/ 6 w 865"/>
                    <a:gd name="T23" fmla="*/ 502 h 1067"/>
                    <a:gd name="T24" fmla="*/ 15 w 865"/>
                    <a:gd name="T25" fmla="*/ 547 h 1067"/>
                    <a:gd name="T26" fmla="*/ 30 w 865"/>
                    <a:gd name="T27" fmla="*/ 589 h 1067"/>
                    <a:gd name="T28" fmla="*/ 48 w 865"/>
                    <a:gd name="T29" fmla="*/ 630 h 1067"/>
                    <a:gd name="T30" fmla="*/ 70 w 865"/>
                    <a:gd name="T31" fmla="*/ 669 h 1067"/>
                    <a:gd name="T32" fmla="*/ 96 w 865"/>
                    <a:gd name="T33" fmla="*/ 704 h 1067"/>
                    <a:gd name="T34" fmla="*/ 141 w 865"/>
                    <a:gd name="T35" fmla="*/ 752 h 1067"/>
                    <a:gd name="T36" fmla="*/ 154 w 865"/>
                    <a:gd name="T37" fmla="*/ 763 h 1067"/>
                    <a:gd name="T38" fmla="*/ 178 w 865"/>
                    <a:gd name="T39" fmla="*/ 787 h 1067"/>
                    <a:gd name="T40" fmla="*/ 219 w 865"/>
                    <a:gd name="T41" fmla="*/ 843 h 1067"/>
                    <a:gd name="T42" fmla="*/ 246 w 865"/>
                    <a:gd name="T43" fmla="*/ 906 h 1067"/>
                    <a:gd name="T44" fmla="*/ 261 w 865"/>
                    <a:gd name="T45" fmla="*/ 975 h 1067"/>
                    <a:gd name="T46" fmla="*/ 263 w 865"/>
                    <a:gd name="T47" fmla="*/ 1067 h 1067"/>
                    <a:gd name="T48" fmla="*/ 602 w 865"/>
                    <a:gd name="T49" fmla="*/ 1067 h 1067"/>
                    <a:gd name="T50" fmla="*/ 602 w 865"/>
                    <a:gd name="T51" fmla="*/ 1012 h 1067"/>
                    <a:gd name="T52" fmla="*/ 610 w 865"/>
                    <a:gd name="T53" fmla="*/ 939 h 1067"/>
                    <a:gd name="T54" fmla="*/ 632 w 865"/>
                    <a:gd name="T55" fmla="*/ 873 h 1067"/>
                    <a:gd name="T56" fmla="*/ 667 w 865"/>
                    <a:gd name="T57" fmla="*/ 813 h 1067"/>
                    <a:gd name="T58" fmla="*/ 711 w 865"/>
                    <a:gd name="T59" fmla="*/ 763 h 1067"/>
                    <a:gd name="T60" fmla="*/ 724 w 865"/>
                    <a:gd name="T61" fmla="*/ 752 h 1067"/>
                    <a:gd name="T62" fmla="*/ 756 w 865"/>
                    <a:gd name="T63" fmla="*/ 721 h 1067"/>
                    <a:gd name="T64" fmla="*/ 784 w 865"/>
                    <a:gd name="T65" fmla="*/ 686 h 1067"/>
                    <a:gd name="T66" fmla="*/ 808 w 865"/>
                    <a:gd name="T67" fmla="*/ 648 h 1067"/>
                    <a:gd name="T68" fmla="*/ 828 w 865"/>
                    <a:gd name="T69" fmla="*/ 610 h 1067"/>
                    <a:gd name="T70" fmla="*/ 843 w 865"/>
                    <a:gd name="T71" fmla="*/ 569 h 1067"/>
                    <a:gd name="T72" fmla="*/ 856 w 865"/>
                    <a:gd name="T73" fmla="*/ 524 h 1067"/>
                    <a:gd name="T74" fmla="*/ 863 w 865"/>
                    <a:gd name="T75" fmla="*/ 480 h 1067"/>
                    <a:gd name="T76" fmla="*/ 865 w 865"/>
                    <a:gd name="T77" fmla="*/ 432 h 1067"/>
                    <a:gd name="T78" fmla="*/ 865 w 865"/>
                    <a:gd name="T79" fmla="*/ 409 h 1067"/>
                    <a:gd name="T80" fmla="*/ 856 w 865"/>
                    <a:gd name="T81" fmla="*/ 345 h 1067"/>
                    <a:gd name="T82" fmla="*/ 832 w 865"/>
                    <a:gd name="T83" fmla="*/ 263 h 1067"/>
                    <a:gd name="T84" fmla="*/ 791 w 865"/>
                    <a:gd name="T85" fmla="*/ 191 h 1067"/>
                    <a:gd name="T86" fmla="*/ 739 w 865"/>
                    <a:gd name="T87" fmla="*/ 126 h 1067"/>
                    <a:gd name="T88" fmla="*/ 674 w 865"/>
                    <a:gd name="T89" fmla="*/ 74 h 1067"/>
                    <a:gd name="T90" fmla="*/ 600 w 865"/>
                    <a:gd name="T91" fmla="*/ 33 h 1067"/>
                    <a:gd name="T92" fmla="*/ 521 w 865"/>
                    <a:gd name="T93" fmla="*/ 7 h 1067"/>
                    <a:gd name="T94" fmla="*/ 456 w 865"/>
                    <a:gd name="T95" fmla="*/ 0 h 1067"/>
                    <a:gd name="T96" fmla="*/ 434 w 865"/>
                    <a:gd name="T97" fmla="*/ 0 h 10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865" h="1067">
                      <a:moveTo>
                        <a:pt x="434" y="0"/>
                      </a:moveTo>
                      <a:lnTo>
                        <a:pt x="434" y="0"/>
                      </a:lnTo>
                      <a:lnTo>
                        <a:pt x="411" y="0"/>
                      </a:lnTo>
                      <a:lnTo>
                        <a:pt x="389" y="2"/>
                      </a:lnTo>
                      <a:lnTo>
                        <a:pt x="345" y="7"/>
                      </a:lnTo>
                      <a:lnTo>
                        <a:pt x="304" y="19"/>
                      </a:lnTo>
                      <a:lnTo>
                        <a:pt x="265" y="33"/>
                      </a:lnTo>
                      <a:lnTo>
                        <a:pt x="226" y="52"/>
                      </a:lnTo>
                      <a:lnTo>
                        <a:pt x="191" y="74"/>
                      </a:lnTo>
                      <a:lnTo>
                        <a:pt x="157" y="98"/>
                      </a:lnTo>
                      <a:lnTo>
                        <a:pt x="126" y="126"/>
                      </a:lnTo>
                      <a:lnTo>
                        <a:pt x="98" y="158"/>
                      </a:lnTo>
                      <a:lnTo>
                        <a:pt x="74" y="191"/>
                      </a:lnTo>
                      <a:lnTo>
                        <a:pt x="52" y="226"/>
                      </a:lnTo>
                      <a:lnTo>
                        <a:pt x="33" y="263"/>
                      </a:lnTo>
                      <a:lnTo>
                        <a:pt x="20" y="304"/>
                      </a:lnTo>
                      <a:lnTo>
                        <a:pt x="9" y="345"/>
                      </a:lnTo>
                      <a:lnTo>
                        <a:pt x="2" y="387"/>
                      </a:lnTo>
                      <a:lnTo>
                        <a:pt x="0" y="409"/>
                      </a:lnTo>
                      <a:lnTo>
                        <a:pt x="0" y="432"/>
                      </a:lnTo>
                      <a:lnTo>
                        <a:pt x="0" y="432"/>
                      </a:lnTo>
                      <a:lnTo>
                        <a:pt x="0" y="456"/>
                      </a:lnTo>
                      <a:lnTo>
                        <a:pt x="2" y="480"/>
                      </a:lnTo>
                      <a:lnTo>
                        <a:pt x="6" y="502"/>
                      </a:lnTo>
                      <a:lnTo>
                        <a:pt x="9" y="524"/>
                      </a:lnTo>
                      <a:lnTo>
                        <a:pt x="15" y="547"/>
                      </a:lnTo>
                      <a:lnTo>
                        <a:pt x="22" y="569"/>
                      </a:lnTo>
                      <a:lnTo>
                        <a:pt x="30" y="589"/>
                      </a:lnTo>
                      <a:lnTo>
                        <a:pt x="39" y="610"/>
                      </a:lnTo>
                      <a:lnTo>
                        <a:pt x="48" y="630"/>
                      </a:lnTo>
                      <a:lnTo>
                        <a:pt x="59" y="648"/>
                      </a:lnTo>
                      <a:lnTo>
                        <a:pt x="70" y="669"/>
                      </a:lnTo>
                      <a:lnTo>
                        <a:pt x="83" y="686"/>
                      </a:lnTo>
                      <a:lnTo>
                        <a:pt x="96" y="704"/>
                      </a:lnTo>
                      <a:lnTo>
                        <a:pt x="109" y="721"/>
                      </a:lnTo>
                      <a:lnTo>
                        <a:pt x="141" y="752"/>
                      </a:lnTo>
                      <a:lnTo>
                        <a:pt x="141" y="752"/>
                      </a:lnTo>
                      <a:lnTo>
                        <a:pt x="154" y="763"/>
                      </a:lnTo>
                      <a:lnTo>
                        <a:pt x="154" y="763"/>
                      </a:lnTo>
                      <a:lnTo>
                        <a:pt x="178" y="787"/>
                      </a:lnTo>
                      <a:lnTo>
                        <a:pt x="200" y="813"/>
                      </a:lnTo>
                      <a:lnTo>
                        <a:pt x="219" y="843"/>
                      </a:lnTo>
                      <a:lnTo>
                        <a:pt x="233" y="873"/>
                      </a:lnTo>
                      <a:lnTo>
                        <a:pt x="246" y="906"/>
                      </a:lnTo>
                      <a:lnTo>
                        <a:pt x="256" y="939"/>
                      </a:lnTo>
                      <a:lnTo>
                        <a:pt x="261" y="975"/>
                      </a:lnTo>
                      <a:lnTo>
                        <a:pt x="263" y="1012"/>
                      </a:lnTo>
                      <a:lnTo>
                        <a:pt x="263" y="1067"/>
                      </a:lnTo>
                      <a:lnTo>
                        <a:pt x="434" y="1067"/>
                      </a:lnTo>
                      <a:lnTo>
                        <a:pt x="602" y="1067"/>
                      </a:lnTo>
                      <a:lnTo>
                        <a:pt x="602" y="1012"/>
                      </a:lnTo>
                      <a:lnTo>
                        <a:pt x="602" y="1012"/>
                      </a:lnTo>
                      <a:lnTo>
                        <a:pt x="604" y="975"/>
                      </a:lnTo>
                      <a:lnTo>
                        <a:pt x="610" y="939"/>
                      </a:lnTo>
                      <a:lnTo>
                        <a:pt x="619" y="906"/>
                      </a:lnTo>
                      <a:lnTo>
                        <a:pt x="632" y="873"/>
                      </a:lnTo>
                      <a:lnTo>
                        <a:pt x="647" y="843"/>
                      </a:lnTo>
                      <a:lnTo>
                        <a:pt x="667" y="813"/>
                      </a:lnTo>
                      <a:lnTo>
                        <a:pt x="687" y="787"/>
                      </a:lnTo>
                      <a:lnTo>
                        <a:pt x="711" y="763"/>
                      </a:lnTo>
                      <a:lnTo>
                        <a:pt x="711" y="763"/>
                      </a:lnTo>
                      <a:lnTo>
                        <a:pt x="724" y="752"/>
                      </a:lnTo>
                      <a:lnTo>
                        <a:pt x="724" y="752"/>
                      </a:lnTo>
                      <a:lnTo>
                        <a:pt x="756" y="721"/>
                      </a:lnTo>
                      <a:lnTo>
                        <a:pt x="769" y="704"/>
                      </a:lnTo>
                      <a:lnTo>
                        <a:pt x="784" y="686"/>
                      </a:lnTo>
                      <a:lnTo>
                        <a:pt x="795" y="669"/>
                      </a:lnTo>
                      <a:lnTo>
                        <a:pt x="808" y="648"/>
                      </a:lnTo>
                      <a:lnTo>
                        <a:pt x="817" y="630"/>
                      </a:lnTo>
                      <a:lnTo>
                        <a:pt x="828" y="610"/>
                      </a:lnTo>
                      <a:lnTo>
                        <a:pt x="836" y="589"/>
                      </a:lnTo>
                      <a:lnTo>
                        <a:pt x="843" y="569"/>
                      </a:lnTo>
                      <a:lnTo>
                        <a:pt x="850" y="547"/>
                      </a:lnTo>
                      <a:lnTo>
                        <a:pt x="856" y="524"/>
                      </a:lnTo>
                      <a:lnTo>
                        <a:pt x="860" y="502"/>
                      </a:lnTo>
                      <a:lnTo>
                        <a:pt x="863" y="480"/>
                      </a:lnTo>
                      <a:lnTo>
                        <a:pt x="865" y="456"/>
                      </a:lnTo>
                      <a:lnTo>
                        <a:pt x="865" y="432"/>
                      </a:lnTo>
                      <a:lnTo>
                        <a:pt x="865" y="432"/>
                      </a:lnTo>
                      <a:lnTo>
                        <a:pt x="865" y="409"/>
                      </a:lnTo>
                      <a:lnTo>
                        <a:pt x="863" y="387"/>
                      </a:lnTo>
                      <a:lnTo>
                        <a:pt x="856" y="345"/>
                      </a:lnTo>
                      <a:lnTo>
                        <a:pt x="847" y="304"/>
                      </a:lnTo>
                      <a:lnTo>
                        <a:pt x="832" y="263"/>
                      </a:lnTo>
                      <a:lnTo>
                        <a:pt x="813" y="226"/>
                      </a:lnTo>
                      <a:lnTo>
                        <a:pt x="791" y="191"/>
                      </a:lnTo>
                      <a:lnTo>
                        <a:pt x="767" y="158"/>
                      </a:lnTo>
                      <a:lnTo>
                        <a:pt x="739" y="126"/>
                      </a:lnTo>
                      <a:lnTo>
                        <a:pt x="708" y="98"/>
                      </a:lnTo>
                      <a:lnTo>
                        <a:pt x="674" y="74"/>
                      </a:lnTo>
                      <a:lnTo>
                        <a:pt x="639" y="52"/>
                      </a:lnTo>
                      <a:lnTo>
                        <a:pt x="600" y="33"/>
                      </a:lnTo>
                      <a:lnTo>
                        <a:pt x="561" y="19"/>
                      </a:lnTo>
                      <a:lnTo>
                        <a:pt x="521" y="7"/>
                      </a:lnTo>
                      <a:lnTo>
                        <a:pt x="476" y="2"/>
                      </a:lnTo>
                      <a:lnTo>
                        <a:pt x="456" y="0"/>
                      </a:lnTo>
                      <a:lnTo>
                        <a:pt x="434" y="0"/>
                      </a:lnTo>
                      <a:lnTo>
                        <a:pt x="434" y="0"/>
                      </a:lnTo>
                      <a:close/>
                    </a:path>
                  </a:pathLst>
                </a:custGeom>
                <a:solidFill>
                  <a:srgbClr val="FDD300"/>
                </a:solidFill>
                <a:ln w="222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9" name="Freeform 241">
                  <a:extLst>
                    <a:ext uri="{FF2B5EF4-FFF2-40B4-BE49-F238E27FC236}">
                      <a16:creationId xmlns:a16="http://schemas.microsoft.com/office/drawing/2014/main" id="{48363F46-C1B1-4332-8335-A2F8F0FAF7A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275638" y="4079876"/>
                  <a:ext cx="585788" cy="333375"/>
                </a:xfrm>
                <a:custGeom>
                  <a:avLst/>
                  <a:gdLst>
                    <a:gd name="T0" fmla="*/ 369 w 369"/>
                    <a:gd name="T1" fmla="*/ 210 h 210"/>
                    <a:gd name="T2" fmla="*/ 0 w 369"/>
                    <a:gd name="T3" fmla="*/ 210 h 210"/>
                    <a:gd name="T4" fmla="*/ 0 w 369"/>
                    <a:gd name="T5" fmla="*/ 0 h 210"/>
                    <a:gd name="T6" fmla="*/ 369 w 369"/>
                    <a:gd name="T7" fmla="*/ 0 h 210"/>
                    <a:gd name="T8" fmla="*/ 369 w 369"/>
                    <a:gd name="T9" fmla="*/ 210 h 210"/>
                    <a:gd name="T10" fmla="*/ 30 w 369"/>
                    <a:gd name="T11" fmla="*/ 180 h 210"/>
                    <a:gd name="T12" fmla="*/ 339 w 369"/>
                    <a:gd name="T13" fmla="*/ 180 h 210"/>
                    <a:gd name="T14" fmla="*/ 339 w 369"/>
                    <a:gd name="T15" fmla="*/ 32 h 210"/>
                    <a:gd name="T16" fmla="*/ 30 w 369"/>
                    <a:gd name="T17" fmla="*/ 32 h 210"/>
                    <a:gd name="T18" fmla="*/ 30 w 369"/>
                    <a:gd name="T19" fmla="*/ 180 h 2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69" h="210">
                      <a:moveTo>
                        <a:pt x="369" y="210"/>
                      </a:moveTo>
                      <a:lnTo>
                        <a:pt x="0" y="210"/>
                      </a:lnTo>
                      <a:lnTo>
                        <a:pt x="0" y="0"/>
                      </a:lnTo>
                      <a:lnTo>
                        <a:pt x="369" y="0"/>
                      </a:lnTo>
                      <a:lnTo>
                        <a:pt x="369" y="210"/>
                      </a:lnTo>
                      <a:close/>
                      <a:moveTo>
                        <a:pt x="30" y="180"/>
                      </a:moveTo>
                      <a:lnTo>
                        <a:pt x="339" y="180"/>
                      </a:lnTo>
                      <a:lnTo>
                        <a:pt x="339" y="32"/>
                      </a:lnTo>
                      <a:lnTo>
                        <a:pt x="30" y="32"/>
                      </a:lnTo>
                      <a:lnTo>
                        <a:pt x="30" y="18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20" name="Rectangle 19">
                  <a:extLst>
                    <a:ext uri="{FF2B5EF4-FFF2-40B4-BE49-F238E27FC236}">
                      <a16:creationId xmlns:a16="http://schemas.microsoft.com/office/drawing/2014/main" id="{44F504D5-7A7E-4ACC-BCF5-A92044FCFA7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250238" y="4079876"/>
                  <a:ext cx="638175" cy="50800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21" name="Rectangle 20">
                  <a:extLst>
                    <a:ext uri="{FF2B5EF4-FFF2-40B4-BE49-F238E27FC236}">
                      <a16:creationId xmlns:a16="http://schemas.microsoft.com/office/drawing/2014/main" id="{C1CBD50D-402F-4749-99F6-343DEE0C6B5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250238" y="4175126"/>
                  <a:ext cx="638175" cy="49213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22" name="Rectangle 21">
                  <a:extLst>
                    <a:ext uri="{FF2B5EF4-FFF2-40B4-BE49-F238E27FC236}">
                      <a16:creationId xmlns:a16="http://schemas.microsoft.com/office/drawing/2014/main" id="{AF44BB8C-3666-440F-AA8D-1F244442274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250238" y="4271963"/>
                  <a:ext cx="638175" cy="46038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23" name="Rectangle 22">
                  <a:extLst>
                    <a:ext uri="{FF2B5EF4-FFF2-40B4-BE49-F238E27FC236}">
                      <a16:creationId xmlns:a16="http://schemas.microsoft.com/office/drawing/2014/main" id="{E9F10FF6-3852-4486-BFA3-65DD08A32BF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250238" y="4365626"/>
                  <a:ext cx="638175" cy="47625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24" name="Freeform 246">
                  <a:extLst>
                    <a:ext uri="{FF2B5EF4-FFF2-40B4-BE49-F238E27FC236}">
                      <a16:creationId xmlns:a16="http://schemas.microsoft.com/office/drawing/2014/main" id="{FA179A60-74EB-4200-9514-9AD1B05F8A6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443913" y="4365626"/>
                  <a:ext cx="249238" cy="155575"/>
                </a:xfrm>
                <a:custGeom>
                  <a:avLst/>
                  <a:gdLst>
                    <a:gd name="T0" fmla="*/ 157 w 157"/>
                    <a:gd name="T1" fmla="*/ 98 h 98"/>
                    <a:gd name="T2" fmla="*/ 0 w 157"/>
                    <a:gd name="T3" fmla="*/ 98 h 98"/>
                    <a:gd name="T4" fmla="*/ 0 w 157"/>
                    <a:gd name="T5" fmla="*/ 0 h 98"/>
                    <a:gd name="T6" fmla="*/ 157 w 157"/>
                    <a:gd name="T7" fmla="*/ 0 h 98"/>
                    <a:gd name="T8" fmla="*/ 157 w 157"/>
                    <a:gd name="T9" fmla="*/ 98 h 98"/>
                    <a:gd name="T10" fmla="*/ 30 w 157"/>
                    <a:gd name="T11" fmla="*/ 69 h 98"/>
                    <a:gd name="T12" fmla="*/ 128 w 157"/>
                    <a:gd name="T13" fmla="*/ 69 h 98"/>
                    <a:gd name="T14" fmla="*/ 128 w 157"/>
                    <a:gd name="T15" fmla="*/ 30 h 98"/>
                    <a:gd name="T16" fmla="*/ 30 w 157"/>
                    <a:gd name="T17" fmla="*/ 30 h 98"/>
                    <a:gd name="T18" fmla="*/ 30 w 157"/>
                    <a:gd name="T19" fmla="*/ 69 h 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57" h="98">
                      <a:moveTo>
                        <a:pt x="157" y="98"/>
                      </a:moveTo>
                      <a:lnTo>
                        <a:pt x="0" y="98"/>
                      </a:lnTo>
                      <a:lnTo>
                        <a:pt x="0" y="0"/>
                      </a:lnTo>
                      <a:lnTo>
                        <a:pt x="157" y="0"/>
                      </a:lnTo>
                      <a:lnTo>
                        <a:pt x="157" y="98"/>
                      </a:lnTo>
                      <a:close/>
                      <a:moveTo>
                        <a:pt x="30" y="69"/>
                      </a:moveTo>
                      <a:lnTo>
                        <a:pt x="128" y="69"/>
                      </a:lnTo>
                      <a:lnTo>
                        <a:pt x="128" y="30"/>
                      </a:lnTo>
                      <a:lnTo>
                        <a:pt x="30" y="30"/>
                      </a:lnTo>
                      <a:lnTo>
                        <a:pt x="30" y="69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25" name="Rectangle 24">
                  <a:extLst>
                    <a:ext uri="{FF2B5EF4-FFF2-40B4-BE49-F238E27FC236}">
                      <a16:creationId xmlns:a16="http://schemas.microsoft.com/office/drawing/2014/main" id="{A955F91C-F774-4BF6-AEB1-17203468239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3471863"/>
                  <a:ext cx="49213" cy="631825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26" name="Freeform 248">
                  <a:extLst>
                    <a:ext uri="{FF2B5EF4-FFF2-40B4-BE49-F238E27FC236}">
                      <a16:creationId xmlns:a16="http://schemas.microsoft.com/office/drawing/2014/main" id="{20BA89EC-750D-4B3D-8770-1E27FD8E862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375651" y="2968626"/>
                  <a:ext cx="385763" cy="255588"/>
                </a:xfrm>
                <a:custGeom>
                  <a:avLst/>
                  <a:gdLst>
                    <a:gd name="T0" fmla="*/ 145 w 243"/>
                    <a:gd name="T1" fmla="*/ 161 h 161"/>
                    <a:gd name="T2" fmla="*/ 98 w 243"/>
                    <a:gd name="T3" fmla="*/ 69 h 161"/>
                    <a:gd name="T4" fmla="*/ 85 w 243"/>
                    <a:gd name="T5" fmla="*/ 95 h 161"/>
                    <a:gd name="T6" fmla="*/ 0 w 243"/>
                    <a:gd name="T7" fmla="*/ 95 h 161"/>
                    <a:gd name="T8" fmla="*/ 0 w 243"/>
                    <a:gd name="T9" fmla="*/ 65 h 161"/>
                    <a:gd name="T10" fmla="*/ 65 w 243"/>
                    <a:gd name="T11" fmla="*/ 65 h 161"/>
                    <a:gd name="T12" fmla="*/ 98 w 243"/>
                    <a:gd name="T13" fmla="*/ 0 h 161"/>
                    <a:gd name="T14" fmla="*/ 145 w 243"/>
                    <a:gd name="T15" fmla="*/ 93 h 161"/>
                    <a:gd name="T16" fmla="*/ 160 w 243"/>
                    <a:gd name="T17" fmla="*/ 65 h 161"/>
                    <a:gd name="T18" fmla="*/ 243 w 243"/>
                    <a:gd name="T19" fmla="*/ 65 h 161"/>
                    <a:gd name="T20" fmla="*/ 243 w 243"/>
                    <a:gd name="T21" fmla="*/ 95 h 161"/>
                    <a:gd name="T22" fmla="*/ 178 w 243"/>
                    <a:gd name="T23" fmla="*/ 95 h 161"/>
                    <a:gd name="T24" fmla="*/ 145 w 243"/>
                    <a:gd name="T25" fmla="*/ 161 h 1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43" h="161">
                      <a:moveTo>
                        <a:pt x="145" y="161"/>
                      </a:moveTo>
                      <a:lnTo>
                        <a:pt x="98" y="69"/>
                      </a:lnTo>
                      <a:lnTo>
                        <a:pt x="85" y="95"/>
                      </a:lnTo>
                      <a:lnTo>
                        <a:pt x="0" y="95"/>
                      </a:lnTo>
                      <a:lnTo>
                        <a:pt x="0" y="65"/>
                      </a:lnTo>
                      <a:lnTo>
                        <a:pt x="65" y="65"/>
                      </a:lnTo>
                      <a:lnTo>
                        <a:pt x="98" y="0"/>
                      </a:lnTo>
                      <a:lnTo>
                        <a:pt x="145" y="93"/>
                      </a:lnTo>
                      <a:lnTo>
                        <a:pt x="160" y="65"/>
                      </a:lnTo>
                      <a:lnTo>
                        <a:pt x="243" y="65"/>
                      </a:lnTo>
                      <a:lnTo>
                        <a:pt x="243" y="95"/>
                      </a:lnTo>
                      <a:lnTo>
                        <a:pt x="178" y="95"/>
                      </a:lnTo>
                      <a:lnTo>
                        <a:pt x="145" y="161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27" name="Freeform 249">
                  <a:extLst>
                    <a:ext uri="{FF2B5EF4-FFF2-40B4-BE49-F238E27FC236}">
                      <a16:creationId xmlns:a16="http://schemas.microsoft.com/office/drawing/2014/main" id="{AD70F6AF-71A7-4E8D-89D2-5EB9A9290F3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334376" y="3121026"/>
                  <a:ext cx="468313" cy="395288"/>
                </a:xfrm>
                <a:custGeom>
                  <a:avLst/>
                  <a:gdLst>
                    <a:gd name="T0" fmla="*/ 149 w 295"/>
                    <a:gd name="T1" fmla="*/ 249 h 249"/>
                    <a:gd name="T2" fmla="*/ 0 w 295"/>
                    <a:gd name="T3" fmla="*/ 17 h 249"/>
                    <a:gd name="T4" fmla="*/ 26 w 295"/>
                    <a:gd name="T5" fmla="*/ 0 h 249"/>
                    <a:gd name="T6" fmla="*/ 149 w 295"/>
                    <a:gd name="T7" fmla="*/ 193 h 249"/>
                    <a:gd name="T8" fmla="*/ 269 w 295"/>
                    <a:gd name="T9" fmla="*/ 0 h 249"/>
                    <a:gd name="T10" fmla="*/ 295 w 295"/>
                    <a:gd name="T11" fmla="*/ 17 h 249"/>
                    <a:gd name="T12" fmla="*/ 149 w 295"/>
                    <a:gd name="T13" fmla="*/ 249 h 2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95" h="249">
                      <a:moveTo>
                        <a:pt x="149" y="249"/>
                      </a:moveTo>
                      <a:lnTo>
                        <a:pt x="0" y="17"/>
                      </a:lnTo>
                      <a:lnTo>
                        <a:pt x="26" y="0"/>
                      </a:lnTo>
                      <a:lnTo>
                        <a:pt x="149" y="193"/>
                      </a:lnTo>
                      <a:lnTo>
                        <a:pt x="269" y="0"/>
                      </a:lnTo>
                      <a:lnTo>
                        <a:pt x="295" y="17"/>
                      </a:lnTo>
                      <a:lnTo>
                        <a:pt x="149" y="249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28" name="Freeform 250">
                  <a:extLst>
                    <a:ext uri="{FF2B5EF4-FFF2-40B4-BE49-F238E27FC236}">
                      <a16:creationId xmlns:a16="http://schemas.microsoft.com/office/drawing/2014/main" id="{C73B7F44-808D-4D7E-B6A4-2F8A7035192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255001" y="3024188"/>
                  <a:ext cx="144463" cy="144463"/>
                </a:xfrm>
                <a:custGeom>
                  <a:avLst/>
                  <a:gdLst>
                    <a:gd name="T0" fmla="*/ 47 w 91"/>
                    <a:gd name="T1" fmla="*/ 91 h 91"/>
                    <a:gd name="T2" fmla="*/ 47 w 91"/>
                    <a:gd name="T3" fmla="*/ 91 h 91"/>
                    <a:gd name="T4" fmla="*/ 37 w 91"/>
                    <a:gd name="T5" fmla="*/ 89 h 91"/>
                    <a:gd name="T6" fmla="*/ 28 w 91"/>
                    <a:gd name="T7" fmla="*/ 87 h 91"/>
                    <a:gd name="T8" fmla="*/ 21 w 91"/>
                    <a:gd name="T9" fmla="*/ 84 h 91"/>
                    <a:gd name="T10" fmla="*/ 13 w 91"/>
                    <a:gd name="T11" fmla="*/ 78 h 91"/>
                    <a:gd name="T12" fmla="*/ 8 w 91"/>
                    <a:gd name="T13" fmla="*/ 71 h 91"/>
                    <a:gd name="T14" fmla="*/ 4 w 91"/>
                    <a:gd name="T15" fmla="*/ 63 h 91"/>
                    <a:gd name="T16" fmla="*/ 2 w 91"/>
                    <a:gd name="T17" fmla="*/ 54 h 91"/>
                    <a:gd name="T18" fmla="*/ 0 w 91"/>
                    <a:gd name="T19" fmla="*/ 45 h 91"/>
                    <a:gd name="T20" fmla="*/ 0 w 91"/>
                    <a:gd name="T21" fmla="*/ 45 h 91"/>
                    <a:gd name="T22" fmla="*/ 2 w 91"/>
                    <a:gd name="T23" fmla="*/ 35 h 91"/>
                    <a:gd name="T24" fmla="*/ 4 w 91"/>
                    <a:gd name="T25" fmla="*/ 28 h 91"/>
                    <a:gd name="T26" fmla="*/ 8 w 91"/>
                    <a:gd name="T27" fmla="*/ 21 h 91"/>
                    <a:gd name="T28" fmla="*/ 13 w 91"/>
                    <a:gd name="T29" fmla="*/ 13 h 91"/>
                    <a:gd name="T30" fmla="*/ 21 w 91"/>
                    <a:gd name="T31" fmla="*/ 8 h 91"/>
                    <a:gd name="T32" fmla="*/ 28 w 91"/>
                    <a:gd name="T33" fmla="*/ 4 h 91"/>
                    <a:gd name="T34" fmla="*/ 37 w 91"/>
                    <a:gd name="T35" fmla="*/ 0 h 91"/>
                    <a:gd name="T36" fmla="*/ 47 w 91"/>
                    <a:gd name="T37" fmla="*/ 0 h 91"/>
                    <a:gd name="T38" fmla="*/ 47 w 91"/>
                    <a:gd name="T39" fmla="*/ 0 h 91"/>
                    <a:gd name="T40" fmla="*/ 56 w 91"/>
                    <a:gd name="T41" fmla="*/ 0 h 91"/>
                    <a:gd name="T42" fmla="*/ 63 w 91"/>
                    <a:gd name="T43" fmla="*/ 4 h 91"/>
                    <a:gd name="T44" fmla="*/ 73 w 91"/>
                    <a:gd name="T45" fmla="*/ 8 h 91"/>
                    <a:gd name="T46" fmla="*/ 78 w 91"/>
                    <a:gd name="T47" fmla="*/ 13 h 91"/>
                    <a:gd name="T48" fmla="*/ 84 w 91"/>
                    <a:gd name="T49" fmla="*/ 21 h 91"/>
                    <a:gd name="T50" fmla="*/ 87 w 91"/>
                    <a:gd name="T51" fmla="*/ 28 h 91"/>
                    <a:gd name="T52" fmla="*/ 91 w 91"/>
                    <a:gd name="T53" fmla="*/ 35 h 91"/>
                    <a:gd name="T54" fmla="*/ 91 w 91"/>
                    <a:gd name="T55" fmla="*/ 45 h 91"/>
                    <a:gd name="T56" fmla="*/ 91 w 91"/>
                    <a:gd name="T57" fmla="*/ 45 h 91"/>
                    <a:gd name="T58" fmla="*/ 91 w 91"/>
                    <a:gd name="T59" fmla="*/ 54 h 91"/>
                    <a:gd name="T60" fmla="*/ 87 w 91"/>
                    <a:gd name="T61" fmla="*/ 63 h 91"/>
                    <a:gd name="T62" fmla="*/ 84 w 91"/>
                    <a:gd name="T63" fmla="*/ 71 h 91"/>
                    <a:gd name="T64" fmla="*/ 78 w 91"/>
                    <a:gd name="T65" fmla="*/ 78 h 91"/>
                    <a:gd name="T66" fmla="*/ 73 w 91"/>
                    <a:gd name="T67" fmla="*/ 84 h 91"/>
                    <a:gd name="T68" fmla="*/ 63 w 91"/>
                    <a:gd name="T69" fmla="*/ 87 h 91"/>
                    <a:gd name="T70" fmla="*/ 56 w 91"/>
                    <a:gd name="T71" fmla="*/ 89 h 91"/>
                    <a:gd name="T72" fmla="*/ 47 w 91"/>
                    <a:gd name="T73" fmla="*/ 91 h 91"/>
                    <a:gd name="T74" fmla="*/ 47 w 91"/>
                    <a:gd name="T75" fmla="*/ 91 h 91"/>
                    <a:gd name="T76" fmla="*/ 47 w 91"/>
                    <a:gd name="T77" fmla="*/ 30 h 91"/>
                    <a:gd name="T78" fmla="*/ 47 w 91"/>
                    <a:gd name="T79" fmla="*/ 30 h 91"/>
                    <a:gd name="T80" fmla="*/ 41 w 91"/>
                    <a:gd name="T81" fmla="*/ 32 h 91"/>
                    <a:gd name="T82" fmla="*/ 35 w 91"/>
                    <a:gd name="T83" fmla="*/ 35 h 91"/>
                    <a:gd name="T84" fmla="*/ 32 w 91"/>
                    <a:gd name="T85" fmla="*/ 39 h 91"/>
                    <a:gd name="T86" fmla="*/ 32 w 91"/>
                    <a:gd name="T87" fmla="*/ 45 h 91"/>
                    <a:gd name="T88" fmla="*/ 32 w 91"/>
                    <a:gd name="T89" fmla="*/ 45 h 91"/>
                    <a:gd name="T90" fmla="*/ 32 w 91"/>
                    <a:gd name="T91" fmla="*/ 50 h 91"/>
                    <a:gd name="T92" fmla="*/ 35 w 91"/>
                    <a:gd name="T93" fmla="*/ 56 h 91"/>
                    <a:gd name="T94" fmla="*/ 41 w 91"/>
                    <a:gd name="T95" fmla="*/ 60 h 91"/>
                    <a:gd name="T96" fmla="*/ 47 w 91"/>
                    <a:gd name="T97" fmla="*/ 60 h 91"/>
                    <a:gd name="T98" fmla="*/ 47 w 91"/>
                    <a:gd name="T99" fmla="*/ 60 h 91"/>
                    <a:gd name="T100" fmla="*/ 52 w 91"/>
                    <a:gd name="T101" fmla="*/ 60 h 91"/>
                    <a:gd name="T102" fmla="*/ 58 w 91"/>
                    <a:gd name="T103" fmla="*/ 56 h 91"/>
                    <a:gd name="T104" fmla="*/ 60 w 91"/>
                    <a:gd name="T105" fmla="*/ 50 h 91"/>
                    <a:gd name="T106" fmla="*/ 61 w 91"/>
                    <a:gd name="T107" fmla="*/ 45 h 91"/>
                    <a:gd name="T108" fmla="*/ 61 w 91"/>
                    <a:gd name="T109" fmla="*/ 45 h 91"/>
                    <a:gd name="T110" fmla="*/ 60 w 91"/>
                    <a:gd name="T111" fmla="*/ 39 h 91"/>
                    <a:gd name="T112" fmla="*/ 58 w 91"/>
                    <a:gd name="T113" fmla="*/ 35 h 91"/>
                    <a:gd name="T114" fmla="*/ 52 w 91"/>
                    <a:gd name="T115" fmla="*/ 32 h 91"/>
                    <a:gd name="T116" fmla="*/ 47 w 91"/>
                    <a:gd name="T117" fmla="*/ 30 h 91"/>
                    <a:gd name="T118" fmla="*/ 47 w 91"/>
                    <a:gd name="T119" fmla="*/ 30 h 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91" h="91">
                      <a:moveTo>
                        <a:pt x="47" y="91"/>
                      </a:moveTo>
                      <a:lnTo>
                        <a:pt x="47" y="91"/>
                      </a:lnTo>
                      <a:lnTo>
                        <a:pt x="37" y="89"/>
                      </a:lnTo>
                      <a:lnTo>
                        <a:pt x="28" y="87"/>
                      </a:lnTo>
                      <a:lnTo>
                        <a:pt x="21" y="84"/>
                      </a:lnTo>
                      <a:lnTo>
                        <a:pt x="13" y="78"/>
                      </a:lnTo>
                      <a:lnTo>
                        <a:pt x="8" y="71"/>
                      </a:lnTo>
                      <a:lnTo>
                        <a:pt x="4" y="63"/>
                      </a:lnTo>
                      <a:lnTo>
                        <a:pt x="2" y="54"/>
                      </a:lnTo>
                      <a:lnTo>
                        <a:pt x="0" y="45"/>
                      </a:lnTo>
                      <a:lnTo>
                        <a:pt x="0" y="45"/>
                      </a:lnTo>
                      <a:lnTo>
                        <a:pt x="2" y="35"/>
                      </a:lnTo>
                      <a:lnTo>
                        <a:pt x="4" y="28"/>
                      </a:lnTo>
                      <a:lnTo>
                        <a:pt x="8" y="21"/>
                      </a:lnTo>
                      <a:lnTo>
                        <a:pt x="13" y="13"/>
                      </a:lnTo>
                      <a:lnTo>
                        <a:pt x="21" y="8"/>
                      </a:lnTo>
                      <a:lnTo>
                        <a:pt x="28" y="4"/>
                      </a:lnTo>
                      <a:lnTo>
                        <a:pt x="37" y="0"/>
                      </a:lnTo>
                      <a:lnTo>
                        <a:pt x="47" y="0"/>
                      </a:lnTo>
                      <a:lnTo>
                        <a:pt x="47" y="0"/>
                      </a:lnTo>
                      <a:lnTo>
                        <a:pt x="56" y="0"/>
                      </a:lnTo>
                      <a:lnTo>
                        <a:pt x="63" y="4"/>
                      </a:lnTo>
                      <a:lnTo>
                        <a:pt x="73" y="8"/>
                      </a:lnTo>
                      <a:lnTo>
                        <a:pt x="78" y="13"/>
                      </a:lnTo>
                      <a:lnTo>
                        <a:pt x="84" y="21"/>
                      </a:lnTo>
                      <a:lnTo>
                        <a:pt x="87" y="28"/>
                      </a:lnTo>
                      <a:lnTo>
                        <a:pt x="91" y="35"/>
                      </a:lnTo>
                      <a:lnTo>
                        <a:pt x="91" y="45"/>
                      </a:lnTo>
                      <a:lnTo>
                        <a:pt x="91" y="45"/>
                      </a:lnTo>
                      <a:lnTo>
                        <a:pt x="91" y="54"/>
                      </a:lnTo>
                      <a:lnTo>
                        <a:pt x="87" y="63"/>
                      </a:lnTo>
                      <a:lnTo>
                        <a:pt x="84" y="71"/>
                      </a:lnTo>
                      <a:lnTo>
                        <a:pt x="78" y="78"/>
                      </a:lnTo>
                      <a:lnTo>
                        <a:pt x="73" y="84"/>
                      </a:lnTo>
                      <a:lnTo>
                        <a:pt x="63" y="87"/>
                      </a:lnTo>
                      <a:lnTo>
                        <a:pt x="56" y="89"/>
                      </a:lnTo>
                      <a:lnTo>
                        <a:pt x="47" y="91"/>
                      </a:lnTo>
                      <a:lnTo>
                        <a:pt x="47" y="91"/>
                      </a:lnTo>
                      <a:close/>
                      <a:moveTo>
                        <a:pt x="47" y="30"/>
                      </a:moveTo>
                      <a:lnTo>
                        <a:pt x="47" y="30"/>
                      </a:lnTo>
                      <a:lnTo>
                        <a:pt x="41" y="32"/>
                      </a:lnTo>
                      <a:lnTo>
                        <a:pt x="35" y="35"/>
                      </a:lnTo>
                      <a:lnTo>
                        <a:pt x="32" y="39"/>
                      </a:lnTo>
                      <a:lnTo>
                        <a:pt x="32" y="45"/>
                      </a:lnTo>
                      <a:lnTo>
                        <a:pt x="32" y="45"/>
                      </a:lnTo>
                      <a:lnTo>
                        <a:pt x="32" y="50"/>
                      </a:lnTo>
                      <a:lnTo>
                        <a:pt x="35" y="56"/>
                      </a:lnTo>
                      <a:lnTo>
                        <a:pt x="41" y="60"/>
                      </a:lnTo>
                      <a:lnTo>
                        <a:pt x="47" y="60"/>
                      </a:lnTo>
                      <a:lnTo>
                        <a:pt x="47" y="60"/>
                      </a:lnTo>
                      <a:lnTo>
                        <a:pt x="52" y="60"/>
                      </a:lnTo>
                      <a:lnTo>
                        <a:pt x="58" y="56"/>
                      </a:lnTo>
                      <a:lnTo>
                        <a:pt x="60" y="50"/>
                      </a:lnTo>
                      <a:lnTo>
                        <a:pt x="61" y="45"/>
                      </a:lnTo>
                      <a:lnTo>
                        <a:pt x="61" y="45"/>
                      </a:lnTo>
                      <a:lnTo>
                        <a:pt x="60" y="39"/>
                      </a:lnTo>
                      <a:lnTo>
                        <a:pt x="58" y="35"/>
                      </a:lnTo>
                      <a:lnTo>
                        <a:pt x="52" y="32"/>
                      </a:lnTo>
                      <a:lnTo>
                        <a:pt x="47" y="30"/>
                      </a:lnTo>
                      <a:lnTo>
                        <a:pt x="47" y="3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29" name="Freeform 251">
                  <a:extLst>
                    <a:ext uri="{FF2B5EF4-FFF2-40B4-BE49-F238E27FC236}">
                      <a16:creationId xmlns:a16="http://schemas.microsoft.com/office/drawing/2014/main" id="{8912995F-B8C5-4317-80BC-C331A0BFC16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737601" y="3024188"/>
                  <a:ext cx="144463" cy="144463"/>
                </a:xfrm>
                <a:custGeom>
                  <a:avLst/>
                  <a:gdLst>
                    <a:gd name="T0" fmla="*/ 45 w 91"/>
                    <a:gd name="T1" fmla="*/ 91 h 91"/>
                    <a:gd name="T2" fmla="*/ 45 w 91"/>
                    <a:gd name="T3" fmla="*/ 91 h 91"/>
                    <a:gd name="T4" fmla="*/ 35 w 91"/>
                    <a:gd name="T5" fmla="*/ 89 h 91"/>
                    <a:gd name="T6" fmla="*/ 28 w 91"/>
                    <a:gd name="T7" fmla="*/ 87 h 91"/>
                    <a:gd name="T8" fmla="*/ 21 w 91"/>
                    <a:gd name="T9" fmla="*/ 84 h 91"/>
                    <a:gd name="T10" fmla="*/ 13 w 91"/>
                    <a:gd name="T11" fmla="*/ 78 h 91"/>
                    <a:gd name="T12" fmla="*/ 8 w 91"/>
                    <a:gd name="T13" fmla="*/ 71 h 91"/>
                    <a:gd name="T14" fmla="*/ 4 w 91"/>
                    <a:gd name="T15" fmla="*/ 63 h 91"/>
                    <a:gd name="T16" fmla="*/ 0 w 91"/>
                    <a:gd name="T17" fmla="*/ 54 h 91"/>
                    <a:gd name="T18" fmla="*/ 0 w 91"/>
                    <a:gd name="T19" fmla="*/ 45 h 91"/>
                    <a:gd name="T20" fmla="*/ 0 w 91"/>
                    <a:gd name="T21" fmla="*/ 45 h 91"/>
                    <a:gd name="T22" fmla="*/ 0 w 91"/>
                    <a:gd name="T23" fmla="*/ 35 h 91"/>
                    <a:gd name="T24" fmla="*/ 4 w 91"/>
                    <a:gd name="T25" fmla="*/ 28 h 91"/>
                    <a:gd name="T26" fmla="*/ 8 w 91"/>
                    <a:gd name="T27" fmla="*/ 21 h 91"/>
                    <a:gd name="T28" fmla="*/ 13 w 91"/>
                    <a:gd name="T29" fmla="*/ 13 h 91"/>
                    <a:gd name="T30" fmla="*/ 21 w 91"/>
                    <a:gd name="T31" fmla="*/ 8 h 91"/>
                    <a:gd name="T32" fmla="*/ 28 w 91"/>
                    <a:gd name="T33" fmla="*/ 4 h 91"/>
                    <a:gd name="T34" fmla="*/ 35 w 91"/>
                    <a:gd name="T35" fmla="*/ 0 h 91"/>
                    <a:gd name="T36" fmla="*/ 45 w 91"/>
                    <a:gd name="T37" fmla="*/ 0 h 91"/>
                    <a:gd name="T38" fmla="*/ 45 w 91"/>
                    <a:gd name="T39" fmla="*/ 0 h 91"/>
                    <a:gd name="T40" fmla="*/ 54 w 91"/>
                    <a:gd name="T41" fmla="*/ 0 h 91"/>
                    <a:gd name="T42" fmla="*/ 63 w 91"/>
                    <a:gd name="T43" fmla="*/ 4 h 91"/>
                    <a:gd name="T44" fmla="*/ 71 w 91"/>
                    <a:gd name="T45" fmla="*/ 8 h 91"/>
                    <a:gd name="T46" fmla="*/ 78 w 91"/>
                    <a:gd name="T47" fmla="*/ 13 h 91"/>
                    <a:gd name="T48" fmla="*/ 84 w 91"/>
                    <a:gd name="T49" fmla="*/ 21 h 91"/>
                    <a:gd name="T50" fmla="*/ 87 w 91"/>
                    <a:gd name="T51" fmla="*/ 28 h 91"/>
                    <a:gd name="T52" fmla="*/ 89 w 91"/>
                    <a:gd name="T53" fmla="*/ 35 h 91"/>
                    <a:gd name="T54" fmla="*/ 91 w 91"/>
                    <a:gd name="T55" fmla="*/ 45 h 91"/>
                    <a:gd name="T56" fmla="*/ 91 w 91"/>
                    <a:gd name="T57" fmla="*/ 45 h 91"/>
                    <a:gd name="T58" fmla="*/ 89 w 91"/>
                    <a:gd name="T59" fmla="*/ 54 h 91"/>
                    <a:gd name="T60" fmla="*/ 87 w 91"/>
                    <a:gd name="T61" fmla="*/ 63 h 91"/>
                    <a:gd name="T62" fmla="*/ 84 w 91"/>
                    <a:gd name="T63" fmla="*/ 71 h 91"/>
                    <a:gd name="T64" fmla="*/ 78 w 91"/>
                    <a:gd name="T65" fmla="*/ 78 h 91"/>
                    <a:gd name="T66" fmla="*/ 71 w 91"/>
                    <a:gd name="T67" fmla="*/ 84 h 91"/>
                    <a:gd name="T68" fmla="*/ 63 w 91"/>
                    <a:gd name="T69" fmla="*/ 87 h 91"/>
                    <a:gd name="T70" fmla="*/ 54 w 91"/>
                    <a:gd name="T71" fmla="*/ 89 h 91"/>
                    <a:gd name="T72" fmla="*/ 45 w 91"/>
                    <a:gd name="T73" fmla="*/ 91 h 91"/>
                    <a:gd name="T74" fmla="*/ 45 w 91"/>
                    <a:gd name="T75" fmla="*/ 91 h 91"/>
                    <a:gd name="T76" fmla="*/ 45 w 91"/>
                    <a:gd name="T77" fmla="*/ 30 h 91"/>
                    <a:gd name="T78" fmla="*/ 45 w 91"/>
                    <a:gd name="T79" fmla="*/ 30 h 91"/>
                    <a:gd name="T80" fmla="*/ 39 w 91"/>
                    <a:gd name="T81" fmla="*/ 32 h 91"/>
                    <a:gd name="T82" fmla="*/ 35 w 91"/>
                    <a:gd name="T83" fmla="*/ 35 h 91"/>
                    <a:gd name="T84" fmla="*/ 32 w 91"/>
                    <a:gd name="T85" fmla="*/ 39 h 91"/>
                    <a:gd name="T86" fmla="*/ 30 w 91"/>
                    <a:gd name="T87" fmla="*/ 45 h 91"/>
                    <a:gd name="T88" fmla="*/ 30 w 91"/>
                    <a:gd name="T89" fmla="*/ 45 h 91"/>
                    <a:gd name="T90" fmla="*/ 32 w 91"/>
                    <a:gd name="T91" fmla="*/ 50 h 91"/>
                    <a:gd name="T92" fmla="*/ 35 w 91"/>
                    <a:gd name="T93" fmla="*/ 56 h 91"/>
                    <a:gd name="T94" fmla="*/ 39 w 91"/>
                    <a:gd name="T95" fmla="*/ 60 h 91"/>
                    <a:gd name="T96" fmla="*/ 45 w 91"/>
                    <a:gd name="T97" fmla="*/ 60 h 91"/>
                    <a:gd name="T98" fmla="*/ 45 w 91"/>
                    <a:gd name="T99" fmla="*/ 60 h 91"/>
                    <a:gd name="T100" fmla="*/ 50 w 91"/>
                    <a:gd name="T101" fmla="*/ 60 h 91"/>
                    <a:gd name="T102" fmla="*/ 56 w 91"/>
                    <a:gd name="T103" fmla="*/ 56 h 91"/>
                    <a:gd name="T104" fmla="*/ 59 w 91"/>
                    <a:gd name="T105" fmla="*/ 50 h 91"/>
                    <a:gd name="T106" fmla="*/ 59 w 91"/>
                    <a:gd name="T107" fmla="*/ 45 h 91"/>
                    <a:gd name="T108" fmla="*/ 59 w 91"/>
                    <a:gd name="T109" fmla="*/ 45 h 91"/>
                    <a:gd name="T110" fmla="*/ 59 w 91"/>
                    <a:gd name="T111" fmla="*/ 39 h 91"/>
                    <a:gd name="T112" fmla="*/ 56 w 91"/>
                    <a:gd name="T113" fmla="*/ 35 h 91"/>
                    <a:gd name="T114" fmla="*/ 50 w 91"/>
                    <a:gd name="T115" fmla="*/ 32 h 91"/>
                    <a:gd name="T116" fmla="*/ 45 w 91"/>
                    <a:gd name="T117" fmla="*/ 30 h 91"/>
                    <a:gd name="T118" fmla="*/ 45 w 91"/>
                    <a:gd name="T119" fmla="*/ 30 h 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91" h="91">
                      <a:moveTo>
                        <a:pt x="45" y="91"/>
                      </a:moveTo>
                      <a:lnTo>
                        <a:pt x="45" y="91"/>
                      </a:lnTo>
                      <a:lnTo>
                        <a:pt x="35" y="89"/>
                      </a:lnTo>
                      <a:lnTo>
                        <a:pt x="28" y="87"/>
                      </a:lnTo>
                      <a:lnTo>
                        <a:pt x="21" y="84"/>
                      </a:lnTo>
                      <a:lnTo>
                        <a:pt x="13" y="78"/>
                      </a:lnTo>
                      <a:lnTo>
                        <a:pt x="8" y="71"/>
                      </a:lnTo>
                      <a:lnTo>
                        <a:pt x="4" y="63"/>
                      </a:lnTo>
                      <a:lnTo>
                        <a:pt x="0" y="54"/>
                      </a:lnTo>
                      <a:lnTo>
                        <a:pt x="0" y="45"/>
                      </a:lnTo>
                      <a:lnTo>
                        <a:pt x="0" y="45"/>
                      </a:lnTo>
                      <a:lnTo>
                        <a:pt x="0" y="35"/>
                      </a:lnTo>
                      <a:lnTo>
                        <a:pt x="4" y="28"/>
                      </a:lnTo>
                      <a:lnTo>
                        <a:pt x="8" y="21"/>
                      </a:lnTo>
                      <a:lnTo>
                        <a:pt x="13" y="13"/>
                      </a:lnTo>
                      <a:lnTo>
                        <a:pt x="21" y="8"/>
                      </a:lnTo>
                      <a:lnTo>
                        <a:pt x="28" y="4"/>
                      </a:lnTo>
                      <a:lnTo>
                        <a:pt x="35" y="0"/>
                      </a:lnTo>
                      <a:lnTo>
                        <a:pt x="45" y="0"/>
                      </a:lnTo>
                      <a:lnTo>
                        <a:pt x="45" y="0"/>
                      </a:lnTo>
                      <a:lnTo>
                        <a:pt x="54" y="0"/>
                      </a:lnTo>
                      <a:lnTo>
                        <a:pt x="63" y="4"/>
                      </a:lnTo>
                      <a:lnTo>
                        <a:pt x="71" y="8"/>
                      </a:lnTo>
                      <a:lnTo>
                        <a:pt x="78" y="13"/>
                      </a:lnTo>
                      <a:lnTo>
                        <a:pt x="84" y="21"/>
                      </a:lnTo>
                      <a:lnTo>
                        <a:pt x="87" y="28"/>
                      </a:lnTo>
                      <a:lnTo>
                        <a:pt x="89" y="35"/>
                      </a:lnTo>
                      <a:lnTo>
                        <a:pt x="91" y="45"/>
                      </a:lnTo>
                      <a:lnTo>
                        <a:pt x="91" y="45"/>
                      </a:lnTo>
                      <a:lnTo>
                        <a:pt x="89" y="54"/>
                      </a:lnTo>
                      <a:lnTo>
                        <a:pt x="87" y="63"/>
                      </a:lnTo>
                      <a:lnTo>
                        <a:pt x="84" y="71"/>
                      </a:lnTo>
                      <a:lnTo>
                        <a:pt x="78" y="78"/>
                      </a:lnTo>
                      <a:lnTo>
                        <a:pt x="71" y="84"/>
                      </a:lnTo>
                      <a:lnTo>
                        <a:pt x="63" y="87"/>
                      </a:lnTo>
                      <a:lnTo>
                        <a:pt x="54" y="89"/>
                      </a:lnTo>
                      <a:lnTo>
                        <a:pt x="45" y="91"/>
                      </a:lnTo>
                      <a:lnTo>
                        <a:pt x="45" y="91"/>
                      </a:lnTo>
                      <a:close/>
                      <a:moveTo>
                        <a:pt x="45" y="30"/>
                      </a:moveTo>
                      <a:lnTo>
                        <a:pt x="45" y="30"/>
                      </a:lnTo>
                      <a:lnTo>
                        <a:pt x="39" y="32"/>
                      </a:lnTo>
                      <a:lnTo>
                        <a:pt x="35" y="35"/>
                      </a:lnTo>
                      <a:lnTo>
                        <a:pt x="32" y="39"/>
                      </a:lnTo>
                      <a:lnTo>
                        <a:pt x="30" y="45"/>
                      </a:lnTo>
                      <a:lnTo>
                        <a:pt x="30" y="45"/>
                      </a:lnTo>
                      <a:lnTo>
                        <a:pt x="32" y="50"/>
                      </a:lnTo>
                      <a:lnTo>
                        <a:pt x="35" y="56"/>
                      </a:lnTo>
                      <a:lnTo>
                        <a:pt x="39" y="60"/>
                      </a:lnTo>
                      <a:lnTo>
                        <a:pt x="45" y="60"/>
                      </a:lnTo>
                      <a:lnTo>
                        <a:pt x="45" y="60"/>
                      </a:lnTo>
                      <a:lnTo>
                        <a:pt x="50" y="60"/>
                      </a:lnTo>
                      <a:lnTo>
                        <a:pt x="56" y="56"/>
                      </a:lnTo>
                      <a:lnTo>
                        <a:pt x="59" y="50"/>
                      </a:lnTo>
                      <a:lnTo>
                        <a:pt x="59" y="45"/>
                      </a:lnTo>
                      <a:lnTo>
                        <a:pt x="59" y="45"/>
                      </a:lnTo>
                      <a:lnTo>
                        <a:pt x="59" y="39"/>
                      </a:lnTo>
                      <a:lnTo>
                        <a:pt x="56" y="35"/>
                      </a:lnTo>
                      <a:lnTo>
                        <a:pt x="50" y="32"/>
                      </a:lnTo>
                      <a:lnTo>
                        <a:pt x="45" y="30"/>
                      </a:lnTo>
                      <a:lnTo>
                        <a:pt x="45" y="3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30" name="Rectangle 29">
                  <a:extLst>
                    <a:ext uri="{FF2B5EF4-FFF2-40B4-BE49-F238E27FC236}">
                      <a16:creationId xmlns:a16="http://schemas.microsoft.com/office/drawing/2014/main" id="{CAAE7413-EF26-4717-AC8C-2CF23F2E41D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2178051"/>
                  <a:ext cx="49213" cy="93663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31" name="Freeform 253">
                  <a:extLst>
                    <a:ext uri="{FF2B5EF4-FFF2-40B4-BE49-F238E27FC236}">
                      <a16:creationId xmlns:a16="http://schemas.microsoft.com/office/drawing/2014/main" id="{73AA1EC9-474D-472D-8564-CF212A52E48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716963" y="2192338"/>
                  <a:ext cx="68263" cy="103188"/>
                </a:xfrm>
                <a:custGeom>
                  <a:avLst/>
                  <a:gdLst>
                    <a:gd name="T0" fmla="*/ 30 w 43"/>
                    <a:gd name="T1" fmla="*/ 65 h 65"/>
                    <a:gd name="T2" fmla="*/ 0 w 43"/>
                    <a:gd name="T3" fmla="*/ 59 h 65"/>
                    <a:gd name="T4" fmla="*/ 13 w 43"/>
                    <a:gd name="T5" fmla="*/ 0 h 65"/>
                    <a:gd name="T6" fmla="*/ 43 w 43"/>
                    <a:gd name="T7" fmla="*/ 6 h 65"/>
                    <a:gd name="T8" fmla="*/ 30 w 43"/>
                    <a:gd name="T9" fmla="*/ 65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3" h="65">
                      <a:moveTo>
                        <a:pt x="30" y="65"/>
                      </a:moveTo>
                      <a:lnTo>
                        <a:pt x="0" y="59"/>
                      </a:lnTo>
                      <a:lnTo>
                        <a:pt x="13" y="0"/>
                      </a:lnTo>
                      <a:lnTo>
                        <a:pt x="43" y="6"/>
                      </a:lnTo>
                      <a:lnTo>
                        <a:pt x="30" y="65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32" name="Freeform 254">
                  <a:extLst>
                    <a:ext uri="{FF2B5EF4-FFF2-40B4-BE49-F238E27FC236}">
                      <a16:creationId xmlns:a16="http://schemas.microsoft.com/office/drawing/2014/main" id="{61A6ADAC-B9E4-492F-865E-BCE734A5588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882063" y="2244726"/>
                  <a:ext cx="82550" cy="109538"/>
                </a:xfrm>
                <a:custGeom>
                  <a:avLst/>
                  <a:gdLst>
                    <a:gd name="T0" fmla="*/ 28 w 52"/>
                    <a:gd name="T1" fmla="*/ 69 h 69"/>
                    <a:gd name="T2" fmla="*/ 0 w 52"/>
                    <a:gd name="T3" fmla="*/ 56 h 69"/>
                    <a:gd name="T4" fmla="*/ 24 w 52"/>
                    <a:gd name="T5" fmla="*/ 0 h 69"/>
                    <a:gd name="T6" fmla="*/ 52 w 52"/>
                    <a:gd name="T7" fmla="*/ 13 h 69"/>
                    <a:gd name="T8" fmla="*/ 28 w 52"/>
                    <a:gd name="T9" fmla="*/ 69 h 6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2" h="69">
                      <a:moveTo>
                        <a:pt x="28" y="69"/>
                      </a:moveTo>
                      <a:lnTo>
                        <a:pt x="0" y="56"/>
                      </a:lnTo>
                      <a:lnTo>
                        <a:pt x="24" y="0"/>
                      </a:lnTo>
                      <a:lnTo>
                        <a:pt x="52" y="13"/>
                      </a:lnTo>
                      <a:lnTo>
                        <a:pt x="28" y="69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33" name="Freeform 255">
                  <a:extLst>
                    <a:ext uri="{FF2B5EF4-FFF2-40B4-BE49-F238E27FC236}">
                      <a16:creationId xmlns:a16="http://schemas.microsoft.com/office/drawing/2014/main" id="{977A77F8-1623-4CB7-A819-AAAAA493D4D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031288" y="2339976"/>
                  <a:ext cx="98425" cy="104775"/>
                </a:xfrm>
                <a:custGeom>
                  <a:avLst/>
                  <a:gdLst>
                    <a:gd name="T0" fmla="*/ 26 w 62"/>
                    <a:gd name="T1" fmla="*/ 66 h 66"/>
                    <a:gd name="T2" fmla="*/ 0 w 62"/>
                    <a:gd name="T3" fmla="*/ 48 h 66"/>
                    <a:gd name="T4" fmla="*/ 37 w 62"/>
                    <a:gd name="T5" fmla="*/ 0 h 66"/>
                    <a:gd name="T6" fmla="*/ 62 w 62"/>
                    <a:gd name="T7" fmla="*/ 16 h 66"/>
                    <a:gd name="T8" fmla="*/ 26 w 62"/>
                    <a:gd name="T9" fmla="*/ 66 h 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2" h="66">
                      <a:moveTo>
                        <a:pt x="26" y="66"/>
                      </a:moveTo>
                      <a:lnTo>
                        <a:pt x="0" y="48"/>
                      </a:lnTo>
                      <a:lnTo>
                        <a:pt x="37" y="0"/>
                      </a:lnTo>
                      <a:lnTo>
                        <a:pt x="62" y="16"/>
                      </a:lnTo>
                      <a:lnTo>
                        <a:pt x="26" y="66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34" name="Freeform 256">
                  <a:extLst>
                    <a:ext uri="{FF2B5EF4-FFF2-40B4-BE49-F238E27FC236}">
                      <a16:creationId xmlns:a16="http://schemas.microsoft.com/office/drawing/2014/main" id="{935FDF97-10EE-4E4C-A53E-9166170DD4A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164638" y="2462213"/>
                  <a:ext cx="103188" cy="100013"/>
                </a:xfrm>
                <a:custGeom>
                  <a:avLst/>
                  <a:gdLst>
                    <a:gd name="T0" fmla="*/ 20 w 65"/>
                    <a:gd name="T1" fmla="*/ 63 h 63"/>
                    <a:gd name="T2" fmla="*/ 0 w 65"/>
                    <a:gd name="T3" fmla="*/ 41 h 63"/>
                    <a:gd name="T4" fmla="*/ 44 w 65"/>
                    <a:gd name="T5" fmla="*/ 0 h 63"/>
                    <a:gd name="T6" fmla="*/ 65 w 65"/>
                    <a:gd name="T7" fmla="*/ 23 h 63"/>
                    <a:gd name="T8" fmla="*/ 20 w 65"/>
                    <a:gd name="T9" fmla="*/ 63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5" h="63">
                      <a:moveTo>
                        <a:pt x="20" y="63"/>
                      </a:moveTo>
                      <a:lnTo>
                        <a:pt x="0" y="41"/>
                      </a:lnTo>
                      <a:lnTo>
                        <a:pt x="44" y="0"/>
                      </a:lnTo>
                      <a:lnTo>
                        <a:pt x="65" y="23"/>
                      </a:lnTo>
                      <a:lnTo>
                        <a:pt x="20" y="6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35" name="Freeform 257">
                  <a:extLst>
                    <a:ext uri="{FF2B5EF4-FFF2-40B4-BE49-F238E27FC236}">
                      <a16:creationId xmlns:a16="http://schemas.microsoft.com/office/drawing/2014/main" id="{CA562749-14B7-41A8-BB25-A07EBB3C4AD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271001" y="2616201"/>
                  <a:ext cx="104775" cy="87313"/>
                </a:xfrm>
                <a:custGeom>
                  <a:avLst/>
                  <a:gdLst>
                    <a:gd name="T0" fmla="*/ 14 w 66"/>
                    <a:gd name="T1" fmla="*/ 55 h 55"/>
                    <a:gd name="T2" fmla="*/ 0 w 66"/>
                    <a:gd name="T3" fmla="*/ 29 h 55"/>
                    <a:gd name="T4" fmla="*/ 51 w 66"/>
                    <a:gd name="T5" fmla="*/ 0 h 55"/>
                    <a:gd name="T6" fmla="*/ 66 w 66"/>
                    <a:gd name="T7" fmla="*/ 26 h 55"/>
                    <a:gd name="T8" fmla="*/ 14 w 66"/>
                    <a:gd name="T9" fmla="*/ 55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6" h="55">
                      <a:moveTo>
                        <a:pt x="14" y="55"/>
                      </a:moveTo>
                      <a:lnTo>
                        <a:pt x="0" y="29"/>
                      </a:lnTo>
                      <a:lnTo>
                        <a:pt x="51" y="0"/>
                      </a:lnTo>
                      <a:lnTo>
                        <a:pt x="66" y="26"/>
                      </a:lnTo>
                      <a:lnTo>
                        <a:pt x="14" y="55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36" name="Freeform 258">
                  <a:extLst>
                    <a:ext uri="{FF2B5EF4-FFF2-40B4-BE49-F238E27FC236}">
                      <a16:creationId xmlns:a16="http://schemas.microsoft.com/office/drawing/2014/main" id="{408CA8BA-E75E-4490-98D8-1AEDFA54646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344026" y="2789238"/>
                  <a:ext cx="106363" cy="76200"/>
                </a:xfrm>
                <a:custGeom>
                  <a:avLst/>
                  <a:gdLst>
                    <a:gd name="T0" fmla="*/ 9 w 67"/>
                    <a:gd name="T1" fmla="*/ 48 h 48"/>
                    <a:gd name="T2" fmla="*/ 0 w 67"/>
                    <a:gd name="T3" fmla="*/ 19 h 48"/>
                    <a:gd name="T4" fmla="*/ 57 w 67"/>
                    <a:gd name="T5" fmla="*/ 0 h 48"/>
                    <a:gd name="T6" fmla="*/ 67 w 67"/>
                    <a:gd name="T7" fmla="*/ 28 h 48"/>
                    <a:gd name="T8" fmla="*/ 9 w 67"/>
                    <a:gd name="T9" fmla="*/ 48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7" h="48">
                      <a:moveTo>
                        <a:pt x="9" y="48"/>
                      </a:moveTo>
                      <a:lnTo>
                        <a:pt x="0" y="19"/>
                      </a:lnTo>
                      <a:lnTo>
                        <a:pt x="57" y="0"/>
                      </a:lnTo>
                      <a:lnTo>
                        <a:pt x="67" y="28"/>
                      </a:lnTo>
                      <a:lnTo>
                        <a:pt x="9" y="48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37" name="Freeform 259">
                  <a:extLst>
                    <a:ext uri="{FF2B5EF4-FFF2-40B4-BE49-F238E27FC236}">
                      <a16:creationId xmlns:a16="http://schemas.microsoft.com/office/drawing/2014/main" id="{1090CF3A-27A3-4311-8FE7-596CA729EF8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385301" y="2974976"/>
                  <a:ext cx="100013" cy="58738"/>
                </a:xfrm>
                <a:custGeom>
                  <a:avLst/>
                  <a:gdLst>
                    <a:gd name="T0" fmla="*/ 3 w 63"/>
                    <a:gd name="T1" fmla="*/ 37 h 37"/>
                    <a:gd name="T2" fmla="*/ 0 w 63"/>
                    <a:gd name="T3" fmla="*/ 7 h 37"/>
                    <a:gd name="T4" fmla="*/ 59 w 63"/>
                    <a:gd name="T5" fmla="*/ 0 h 37"/>
                    <a:gd name="T6" fmla="*/ 63 w 63"/>
                    <a:gd name="T7" fmla="*/ 31 h 37"/>
                    <a:gd name="T8" fmla="*/ 3 w 63"/>
                    <a:gd name="T9" fmla="*/ 37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3" h="37">
                      <a:moveTo>
                        <a:pt x="3" y="37"/>
                      </a:moveTo>
                      <a:lnTo>
                        <a:pt x="0" y="7"/>
                      </a:lnTo>
                      <a:lnTo>
                        <a:pt x="59" y="0"/>
                      </a:lnTo>
                      <a:lnTo>
                        <a:pt x="63" y="31"/>
                      </a:lnTo>
                      <a:lnTo>
                        <a:pt x="3" y="37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38" name="Freeform 260">
                  <a:extLst>
                    <a:ext uri="{FF2B5EF4-FFF2-40B4-BE49-F238E27FC236}">
                      <a16:creationId xmlns:a16="http://schemas.microsoft.com/office/drawing/2014/main" id="{3FAB6C50-BDDE-45C0-926C-7837C8FA7B7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385301" y="3157538"/>
                  <a:ext cx="100013" cy="58738"/>
                </a:xfrm>
                <a:custGeom>
                  <a:avLst/>
                  <a:gdLst>
                    <a:gd name="T0" fmla="*/ 59 w 63"/>
                    <a:gd name="T1" fmla="*/ 37 h 37"/>
                    <a:gd name="T2" fmla="*/ 0 w 63"/>
                    <a:gd name="T3" fmla="*/ 31 h 37"/>
                    <a:gd name="T4" fmla="*/ 3 w 63"/>
                    <a:gd name="T5" fmla="*/ 0 h 37"/>
                    <a:gd name="T6" fmla="*/ 63 w 63"/>
                    <a:gd name="T7" fmla="*/ 7 h 37"/>
                    <a:gd name="T8" fmla="*/ 59 w 63"/>
                    <a:gd name="T9" fmla="*/ 37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3" h="37">
                      <a:moveTo>
                        <a:pt x="59" y="37"/>
                      </a:moveTo>
                      <a:lnTo>
                        <a:pt x="0" y="31"/>
                      </a:lnTo>
                      <a:lnTo>
                        <a:pt x="3" y="0"/>
                      </a:lnTo>
                      <a:lnTo>
                        <a:pt x="63" y="7"/>
                      </a:lnTo>
                      <a:lnTo>
                        <a:pt x="59" y="37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39" name="Freeform 261">
                  <a:extLst>
                    <a:ext uri="{FF2B5EF4-FFF2-40B4-BE49-F238E27FC236}">
                      <a16:creationId xmlns:a16="http://schemas.microsoft.com/office/drawing/2014/main" id="{47D663F0-8018-44F9-80F0-01A8B6986EC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344026" y="3327401"/>
                  <a:ext cx="106363" cy="76200"/>
                </a:xfrm>
                <a:custGeom>
                  <a:avLst/>
                  <a:gdLst>
                    <a:gd name="T0" fmla="*/ 57 w 67"/>
                    <a:gd name="T1" fmla="*/ 48 h 48"/>
                    <a:gd name="T2" fmla="*/ 0 w 67"/>
                    <a:gd name="T3" fmla="*/ 28 h 48"/>
                    <a:gd name="T4" fmla="*/ 9 w 67"/>
                    <a:gd name="T5" fmla="*/ 0 h 48"/>
                    <a:gd name="T6" fmla="*/ 67 w 67"/>
                    <a:gd name="T7" fmla="*/ 19 h 48"/>
                    <a:gd name="T8" fmla="*/ 57 w 67"/>
                    <a:gd name="T9" fmla="*/ 48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7" h="48">
                      <a:moveTo>
                        <a:pt x="57" y="48"/>
                      </a:moveTo>
                      <a:lnTo>
                        <a:pt x="0" y="28"/>
                      </a:lnTo>
                      <a:lnTo>
                        <a:pt x="9" y="0"/>
                      </a:lnTo>
                      <a:lnTo>
                        <a:pt x="67" y="19"/>
                      </a:lnTo>
                      <a:lnTo>
                        <a:pt x="57" y="48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40" name="Freeform 262">
                  <a:extLst>
                    <a:ext uri="{FF2B5EF4-FFF2-40B4-BE49-F238E27FC236}">
                      <a16:creationId xmlns:a16="http://schemas.microsoft.com/office/drawing/2014/main" id="{0101A9CE-A12E-44DC-AD06-F6FE1A728FC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271001" y="3486151"/>
                  <a:ext cx="104775" cy="92075"/>
                </a:xfrm>
                <a:custGeom>
                  <a:avLst/>
                  <a:gdLst>
                    <a:gd name="T0" fmla="*/ 51 w 66"/>
                    <a:gd name="T1" fmla="*/ 58 h 58"/>
                    <a:gd name="T2" fmla="*/ 0 w 66"/>
                    <a:gd name="T3" fmla="*/ 26 h 58"/>
                    <a:gd name="T4" fmla="*/ 14 w 66"/>
                    <a:gd name="T5" fmla="*/ 0 h 58"/>
                    <a:gd name="T6" fmla="*/ 66 w 66"/>
                    <a:gd name="T7" fmla="*/ 30 h 58"/>
                    <a:gd name="T8" fmla="*/ 51 w 66"/>
                    <a:gd name="T9" fmla="*/ 58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6" h="58">
                      <a:moveTo>
                        <a:pt x="51" y="58"/>
                      </a:moveTo>
                      <a:lnTo>
                        <a:pt x="0" y="26"/>
                      </a:lnTo>
                      <a:lnTo>
                        <a:pt x="14" y="0"/>
                      </a:lnTo>
                      <a:lnTo>
                        <a:pt x="66" y="30"/>
                      </a:lnTo>
                      <a:lnTo>
                        <a:pt x="51" y="58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41" name="Freeform 263">
                  <a:extLst>
                    <a:ext uri="{FF2B5EF4-FFF2-40B4-BE49-F238E27FC236}">
                      <a16:creationId xmlns:a16="http://schemas.microsoft.com/office/drawing/2014/main" id="{13CE1013-3E66-434C-A86D-CC70498A1AD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164638" y="3627438"/>
                  <a:ext cx="103188" cy="100013"/>
                </a:xfrm>
                <a:custGeom>
                  <a:avLst/>
                  <a:gdLst>
                    <a:gd name="T0" fmla="*/ 44 w 65"/>
                    <a:gd name="T1" fmla="*/ 63 h 63"/>
                    <a:gd name="T2" fmla="*/ 0 w 65"/>
                    <a:gd name="T3" fmla="*/ 24 h 63"/>
                    <a:gd name="T4" fmla="*/ 20 w 65"/>
                    <a:gd name="T5" fmla="*/ 0 h 63"/>
                    <a:gd name="T6" fmla="*/ 65 w 65"/>
                    <a:gd name="T7" fmla="*/ 41 h 63"/>
                    <a:gd name="T8" fmla="*/ 44 w 65"/>
                    <a:gd name="T9" fmla="*/ 63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5" h="63">
                      <a:moveTo>
                        <a:pt x="44" y="63"/>
                      </a:moveTo>
                      <a:lnTo>
                        <a:pt x="0" y="24"/>
                      </a:lnTo>
                      <a:lnTo>
                        <a:pt x="20" y="0"/>
                      </a:lnTo>
                      <a:lnTo>
                        <a:pt x="65" y="41"/>
                      </a:lnTo>
                      <a:lnTo>
                        <a:pt x="44" y="6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42" name="Freeform 264">
                  <a:extLst>
                    <a:ext uri="{FF2B5EF4-FFF2-40B4-BE49-F238E27FC236}">
                      <a16:creationId xmlns:a16="http://schemas.microsoft.com/office/drawing/2014/main" id="{8E6176CC-397B-4CA1-985C-7F8F098D305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031288" y="3748088"/>
                  <a:ext cx="98425" cy="106363"/>
                </a:xfrm>
                <a:custGeom>
                  <a:avLst/>
                  <a:gdLst>
                    <a:gd name="T0" fmla="*/ 37 w 62"/>
                    <a:gd name="T1" fmla="*/ 67 h 67"/>
                    <a:gd name="T2" fmla="*/ 0 w 62"/>
                    <a:gd name="T3" fmla="*/ 17 h 67"/>
                    <a:gd name="T4" fmla="*/ 26 w 62"/>
                    <a:gd name="T5" fmla="*/ 0 h 67"/>
                    <a:gd name="T6" fmla="*/ 62 w 62"/>
                    <a:gd name="T7" fmla="*/ 48 h 67"/>
                    <a:gd name="T8" fmla="*/ 37 w 62"/>
                    <a:gd name="T9" fmla="*/ 67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2" h="67">
                      <a:moveTo>
                        <a:pt x="37" y="67"/>
                      </a:moveTo>
                      <a:lnTo>
                        <a:pt x="0" y="17"/>
                      </a:lnTo>
                      <a:lnTo>
                        <a:pt x="26" y="0"/>
                      </a:lnTo>
                      <a:lnTo>
                        <a:pt x="62" y="48"/>
                      </a:lnTo>
                      <a:lnTo>
                        <a:pt x="37" y="67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43" name="Freeform 265">
                  <a:extLst>
                    <a:ext uri="{FF2B5EF4-FFF2-40B4-BE49-F238E27FC236}">
                      <a16:creationId xmlns:a16="http://schemas.microsoft.com/office/drawing/2014/main" id="{62E95CCC-CC2C-45B4-BF48-0CB536D00C6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355013" y="2192338"/>
                  <a:ext cx="65088" cy="103188"/>
                </a:xfrm>
                <a:custGeom>
                  <a:avLst/>
                  <a:gdLst>
                    <a:gd name="T0" fmla="*/ 11 w 41"/>
                    <a:gd name="T1" fmla="*/ 65 h 65"/>
                    <a:gd name="T2" fmla="*/ 0 w 41"/>
                    <a:gd name="T3" fmla="*/ 6 h 65"/>
                    <a:gd name="T4" fmla="*/ 30 w 41"/>
                    <a:gd name="T5" fmla="*/ 0 h 65"/>
                    <a:gd name="T6" fmla="*/ 41 w 41"/>
                    <a:gd name="T7" fmla="*/ 59 h 65"/>
                    <a:gd name="T8" fmla="*/ 11 w 41"/>
                    <a:gd name="T9" fmla="*/ 65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1" h="65">
                      <a:moveTo>
                        <a:pt x="11" y="65"/>
                      </a:moveTo>
                      <a:lnTo>
                        <a:pt x="0" y="6"/>
                      </a:lnTo>
                      <a:lnTo>
                        <a:pt x="30" y="0"/>
                      </a:lnTo>
                      <a:lnTo>
                        <a:pt x="41" y="59"/>
                      </a:lnTo>
                      <a:lnTo>
                        <a:pt x="11" y="65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44" name="Freeform 266">
                  <a:extLst>
                    <a:ext uri="{FF2B5EF4-FFF2-40B4-BE49-F238E27FC236}">
                      <a16:creationId xmlns:a16="http://schemas.microsoft.com/office/drawing/2014/main" id="{0C70349C-B12D-4A72-A795-29BFCAA01DC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172451" y="2244726"/>
                  <a:ext cx="82550" cy="109538"/>
                </a:xfrm>
                <a:custGeom>
                  <a:avLst/>
                  <a:gdLst>
                    <a:gd name="T0" fmla="*/ 24 w 52"/>
                    <a:gd name="T1" fmla="*/ 69 h 69"/>
                    <a:gd name="T2" fmla="*/ 0 w 52"/>
                    <a:gd name="T3" fmla="*/ 13 h 69"/>
                    <a:gd name="T4" fmla="*/ 28 w 52"/>
                    <a:gd name="T5" fmla="*/ 0 h 69"/>
                    <a:gd name="T6" fmla="*/ 52 w 52"/>
                    <a:gd name="T7" fmla="*/ 56 h 69"/>
                    <a:gd name="T8" fmla="*/ 24 w 52"/>
                    <a:gd name="T9" fmla="*/ 69 h 6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2" h="69">
                      <a:moveTo>
                        <a:pt x="24" y="69"/>
                      </a:moveTo>
                      <a:lnTo>
                        <a:pt x="0" y="13"/>
                      </a:lnTo>
                      <a:lnTo>
                        <a:pt x="28" y="0"/>
                      </a:lnTo>
                      <a:lnTo>
                        <a:pt x="52" y="56"/>
                      </a:lnTo>
                      <a:lnTo>
                        <a:pt x="24" y="69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45" name="Freeform 267">
                  <a:extLst>
                    <a:ext uri="{FF2B5EF4-FFF2-40B4-BE49-F238E27FC236}">
                      <a16:creationId xmlns:a16="http://schemas.microsoft.com/office/drawing/2014/main" id="{54AA60F1-EA14-4143-BBC2-403E43DB1EE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008938" y="2339976"/>
                  <a:ext cx="96838" cy="104775"/>
                </a:xfrm>
                <a:custGeom>
                  <a:avLst/>
                  <a:gdLst>
                    <a:gd name="T0" fmla="*/ 37 w 61"/>
                    <a:gd name="T1" fmla="*/ 66 h 66"/>
                    <a:gd name="T2" fmla="*/ 0 w 61"/>
                    <a:gd name="T3" fmla="*/ 16 h 66"/>
                    <a:gd name="T4" fmla="*/ 26 w 61"/>
                    <a:gd name="T5" fmla="*/ 0 h 66"/>
                    <a:gd name="T6" fmla="*/ 61 w 61"/>
                    <a:gd name="T7" fmla="*/ 48 h 66"/>
                    <a:gd name="T8" fmla="*/ 37 w 61"/>
                    <a:gd name="T9" fmla="*/ 66 h 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1" h="66">
                      <a:moveTo>
                        <a:pt x="37" y="66"/>
                      </a:moveTo>
                      <a:lnTo>
                        <a:pt x="0" y="16"/>
                      </a:lnTo>
                      <a:lnTo>
                        <a:pt x="26" y="0"/>
                      </a:lnTo>
                      <a:lnTo>
                        <a:pt x="61" y="48"/>
                      </a:lnTo>
                      <a:lnTo>
                        <a:pt x="37" y="66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46" name="Freeform 268">
                  <a:extLst>
                    <a:ext uri="{FF2B5EF4-FFF2-40B4-BE49-F238E27FC236}">
                      <a16:creationId xmlns:a16="http://schemas.microsoft.com/office/drawing/2014/main" id="{6A9FE813-E6B8-4C88-B669-F9DD4D594FA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870826" y="2462213"/>
                  <a:ext cx="101600" cy="100013"/>
                </a:xfrm>
                <a:custGeom>
                  <a:avLst/>
                  <a:gdLst>
                    <a:gd name="T0" fmla="*/ 44 w 64"/>
                    <a:gd name="T1" fmla="*/ 63 h 63"/>
                    <a:gd name="T2" fmla="*/ 0 w 64"/>
                    <a:gd name="T3" fmla="*/ 23 h 63"/>
                    <a:gd name="T4" fmla="*/ 20 w 64"/>
                    <a:gd name="T5" fmla="*/ 0 h 63"/>
                    <a:gd name="T6" fmla="*/ 64 w 64"/>
                    <a:gd name="T7" fmla="*/ 41 h 63"/>
                    <a:gd name="T8" fmla="*/ 44 w 64"/>
                    <a:gd name="T9" fmla="*/ 63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4" h="63">
                      <a:moveTo>
                        <a:pt x="44" y="63"/>
                      </a:moveTo>
                      <a:lnTo>
                        <a:pt x="0" y="23"/>
                      </a:lnTo>
                      <a:lnTo>
                        <a:pt x="20" y="0"/>
                      </a:lnTo>
                      <a:lnTo>
                        <a:pt x="64" y="41"/>
                      </a:lnTo>
                      <a:lnTo>
                        <a:pt x="44" y="6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47" name="Freeform 269">
                  <a:extLst>
                    <a:ext uri="{FF2B5EF4-FFF2-40B4-BE49-F238E27FC236}">
                      <a16:creationId xmlns:a16="http://schemas.microsoft.com/office/drawing/2014/main" id="{603A3DBC-6ECA-4B3E-A67C-A80CC97937D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761288" y="2616201"/>
                  <a:ext cx="106363" cy="87313"/>
                </a:xfrm>
                <a:custGeom>
                  <a:avLst/>
                  <a:gdLst>
                    <a:gd name="T0" fmla="*/ 52 w 67"/>
                    <a:gd name="T1" fmla="*/ 55 h 55"/>
                    <a:gd name="T2" fmla="*/ 0 w 67"/>
                    <a:gd name="T3" fmla="*/ 26 h 55"/>
                    <a:gd name="T4" fmla="*/ 15 w 67"/>
                    <a:gd name="T5" fmla="*/ 0 h 55"/>
                    <a:gd name="T6" fmla="*/ 67 w 67"/>
                    <a:gd name="T7" fmla="*/ 29 h 55"/>
                    <a:gd name="T8" fmla="*/ 52 w 67"/>
                    <a:gd name="T9" fmla="*/ 55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7" h="55">
                      <a:moveTo>
                        <a:pt x="52" y="55"/>
                      </a:moveTo>
                      <a:lnTo>
                        <a:pt x="0" y="26"/>
                      </a:lnTo>
                      <a:lnTo>
                        <a:pt x="15" y="0"/>
                      </a:lnTo>
                      <a:lnTo>
                        <a:pt x="67" y="29"/>
                      </a:lnTo>
                      <a:lnTo>
                        <a:pt x="52" y="55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48" name="Freeform 270">
                  <a:extLst>
                    <a:ext uri="{FF2B5EF4-FFF2-40B4-BE49-F238E27FC236}">
                      <a16:creationId xmlns:a16="http://schemas.microsoft.com/office/drawing/2014/main" id="{0F7E6AE9-98CA-4620-AB33-54F1E0AB17E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688263" y="2789238"/>
                  <a:ext cx="104775" cy="76200"/>
                </a:xfrm>
                <a:custGeom>
                  <a:avLst/>
                  <a:gdLst>
                    <a:gd name="T0" fmla="*/ 57 w 66"/>
                    <a:gd name="T1" fmla="*/ 48 h 48"/>
                    <a:gd name="T2" fmla="*/ 0 w 66"/>
                    <a:gd name="T3" fmla="*/ 28 h 48"/>
                    <a:gd name="T4" fmla="*/ 9 w 66"/>
                    <a:gd name="T5" fmla="*/ 0 h 48"/>
                    <a:gd name="T6" fmla="*/ 66 w 66"/>
                    <a:gd name="T7" fmla="*/ 19 h 48"/>
                    <a:gd name="T8" fmla="*/ 57 w 66"/>
                    <a:gd name="T9" fmla="*/ 48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6" h="48">
                      <a:moveTo>
                        <a:pt x="57" y="48"/>
                      </a:moveTo>
                      <a:lnTo>
                        <a:pt x="0" y="28"/>
                      </a:lnTo>
                      <a:lnTo>
                        <a:pt x="9" y="0"/>
                      </a:lnTo>
                      <a:lnTo>
                        <a:pt x="66" y="19"/>
                      </a:lnTo>
                      <a:lnTo>
                        <a:pt x="57" y="48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49" name="Freeform 271">
                  <a:extLst>
                    <a:ext uri="{FF2B5EF4-FFF2-40B4-BE49-F238E27FC236}">
                      <a16:creationId xmlns:a16="http://schemas.microsoft.com/office/drawing/2014/main" id="{25BBFA28-CF4E-4B44-8A5A-FD93F243A23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651751" y="2974976"/>
                  <a:ext cx="100013" cy="58738"/>
                </a:xfrm>
                <a:custGeom>
                  <a:avLst/>
                  <a:gdLst>
                    <a:gd name="T0" fmla="*/ 60 w 63"/>
                    <a:gd name="T1" fmla="*/ 37 h 37"/>
                    <a:gd name="T2" fmla="*/ 0 w 63"/>
                    <a:gd name="T3" fmla="*/ 31 h 37"/>
                    <a:gd name="T4" fmla="*/ 4 w 63"/>
                    <a:gd name="T5" fmla="*/ 0 h 37"/>
                    <a:gd name="T6" fmla="*/ 63 w 63"/>
                    <a:gd name="T7" fmla="*/ 7 h 37"/>
                    <a:gd name="T8" fmla="*/ 60 w 63"/>
                    <a:gd name="T9" fmla="*/ 37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3" h="37">
                      <a:moveTo>
                        <a:pt x="60" y="37"/>
                      </a:moveTo>
                      <a:lnTo>
                        <a:pt x="0" y="31"/>
                      </a:lnTo>
                      <a:lnTo>
                        <a:pt x="4" y="0"/>
                      </a:lnTo>
                      <a:lnTo>
                        <a:pt x="63" y="7"/>
                      </a:lnTo>
                      <a:lnTo>
                        <a:pt x="60" y="37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50" name="Freeform 272">
                  <a:extLst>
                    <a:ext uri="{FF2B5EF4-FFF2-40B4-BE49-F238E27FC236}">
                      <a16:creationId xmlns:a16="http://schemas.microsoft.com/office/drawing/2014/main" id="{7A84640E-2B53-4CC9-9204-FB7F96CBC07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651751" y="3157538"/>
                  <a:ext cx="100013" cy="58738"/>
                </a:xfrm>
                <a:custGeom>
                  <a:avLst/>
                  <a:gdLst>
                    <a:gd name="T0" fmla="*/ 4 w 63"/>
                    <a:gd name="T1" fmla="*/ 37 h 37"/>
                    <a:gd name="T2" fmla="*/ 0 w 63"/>
                    <a:gd name="T3" fmla="*/ 7 h 37"/>
                    <a:gd name="T4" fmla="*/ 60 w 63"/>
                    <a:gd name="T5" fmla="*/ 0 h 37"/>
                    <a:gd name="T6" fmla="*/ 63 w 63"/>
                    <a:gd name="T7" fmla="*/ 31 h 37"/>
                    <a:gd name="T8" fmla="*/ 4 w 63"/>
                    <a:gd name="T9" fmla="*/ 37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3" h="37">
                      <a:moveTo>
                        <a:pt x="4" y="37"/>
                      </a:moveTo>
                      <a:lnTo>
                        <a:pt x="0" y="7"/>
                      </a:lnTo>
                      <a:lnTo>
                        <a:pt x="60" y="0"/>
                      </a:lnTo>
                      <a:lnTo>
                        <a:pt x="63" y="31"/>
                      </a:lnTo>
                      <a:lnTo>
                        <a:pt x="4" y="37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51" name="Freeform 273">
                  <a:extLst>
                    <a:ext uri="{FF2B5EF4-FFF2-40B4-BE49-F238E27FC236}">
                      <a16:creationId xmlns:a16="http://schemas.microsoft.com/office/drawing/2014/main" id="{C6794764-EA44-4A35-B42E-D05D12C03F8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688263" y="3327401"/>
                  <a:ext cx="104775" cy="76200"/>
                </a:xfrm>
                <a:custGeom>
                  <a:avLst/>
                  <a:gdLst>
                    <a:gd name="T0" fmla="*/ 9 w 66"/>
                    <a:gd name="T1" fmla="*/ 48 h 48"/>
                    <a:gd name="T2" fmla="*/ 0 w 66"/>
                    <a:gd name="T3" fmla="*/ 19 h 48"/>
                    <a:gd name="T4" fmla="*/ 57 w 66"/>
                    <a:gd name="T5" fmla="*/ 0 h 48"/>
                    <a:gd name="T6" fmla="*/ 66 w 66"/>
                    <a:gd name="T7" fmla="*/ 30 h 48"/>
                    <a:gd name="T8" fmla="*/ 9 w 66"/>
                    <a:gd name="T9" fmla="*/ 48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6" h="48">
                      <a:moveTo>
                        <a:pt x="9" y="48"/>
                      </a:moveTo>
                      <a:lnTo>
                        <a:pt x="0" y="19"/>
                      </a:lnTo>
                      <a:lnTo>
                        <a:pt x="57" y="0"/>
                      </a:lnTo>
                      <a:lnTo>
                        <a:pt x="66" y="30"/>
                      </a:lnTo>
                      <a:lnTo>
                        <a:pt x="9" y="48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52" name="Freeform 274">
                  <a:extLst>
                    <a:ext uri="{FF2B5EF4-FFF2-40B4-BE49-F238E27FC236}">
                      <a16:creationId xmlns:a16="http://schemas.microsoft.com/office/drawing/2014/main" id="{ECABC25A-4518-4111-9BA8-1DD818093C7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761288" y="3486151"/>
                  <a:ext cx="106363" cy="92075"/>
                </a:xfrm>
                <a:custGeom>
                  <a:avLst/>
                  <a:gdLst>
                    <a:gd name="T0" fmla="*/ 15 w 67"/>
                    <a:gd name="T1" fmla="*/ 58 h 58"/>
                    <a:gd name="T2" fmla="*/ 0 w 67"/>
                    <a:gd name="T3" fmla="*/ 30 h 58"/>
                    <a:gd name="T4" fmla="*/ 52 w 67"/>
                    <a:gd name="T5" fmla="*/ 0 h 58"/>
                    <a:gd name="T6" fmla="*/ 67 w 67"/>
                    <a:gd name="T7" fmla="*/ 26 h 58"/>
                    <a:gd name="T8" fmla="*/ 15 w 67"/>
                    <a:gd name="T9" fmla="*/ 58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7" h="58">
                      <a:moveTo>
                        <a:pt x="15" y="58"/>
                      </a:moveTo>
                      <a:lnTo>
                        <a:pt x="0" y="30"/>
                      </a:lnTo>
                      <a:lnTo>
                        <a:pt x="52" y="0"/>
                      </a:lnTo>
                      <a:lnTo>
                        <a:pt x="67" y="26"/>
                      </a:lnTo>
                      <a:lnTo>
                        <a:pt x="15" y="58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53" name="Freeform 275">
                  <a:extLst>
                    <a:ext uri="{FF2B5EF4-FFF2-40B4-BE49-F238E27FC236}">
                      <a16:creationId xmlns:a16="http://schemas.microsoft.com/office/drawing/2014/main" id="{973AFCC4-A50F-4B89-9F66-FAF5189135C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870826" y="3627438"/>
                  <a:ext cx="101600" cy="100013"/>
                </a:xfrm>
                <a:custGeom>
                  <a:avLst/>
                  <a:gdLst>
                    <a:gd name="T0" fmla="*/ 20 w 64"/>
                    <a:gd name="T1" fmla="*/ 63 h 63"/>
                    <a:gd name="T2" fmla="*/ 0 w 64"/>
                    <a:gd name="T3" fmla="*/ 41 h 63"/>
                    <a:gd name="T4" fmla="*/ 44 w 64"/>
                    <a:gd name="T5" fmla="*/ 0 h 63"/>
                    <a:gd name="T6" fmla="*/ 64 w 64"/>
                    <a:gd name="T7" fmla="*/ 24 h 63"/>
                    <a:gd name="T8" fmla="*/ 20 w 64"/>
                    <a:gd name="T9" fmla="*/ 63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4" h="63">
                      <a:moveTo>
                        <a:pt x="20" y="63"/>
                      </a:moveTo>
                      <a:lnTo>
                        <a:pt x="0" y="41"/>
                      </a:lnTo>
                      <a:lnTo>
                        <a:pt x="44" y="0"/>
                      </a:lnTo>
                      <a:lnTo>
                        <a:pt x="64" y="24"/>
                      </a:lnTo>
                      <a:lnTo>
                        <a:pt x="20" y="6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54" name="Freeform 276">
                  <a:extLst>
                    <a:ext uri="{FF2B5EF4-FFF2-40B4-BE49-F238E27FC236}">
                      <a16:creationId xmlns:a16="http://schemas.microsoft.com/office/drawing/2014/main" id="{045645C6-3246-40C3-8BB4-A7D1CC944CB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008938" y="3748088"/>
                  <a:ext cx="96838" cy="106363"/>
                </a:xfrm>
                <a:custGeom>
                  <a:avLst/>
                  <a:gdLst>
                    <a:gd name="T0" fmla="*/ 26 w 61"/>
                    <a:gd name="T1" fmla="*/ 67 h 67"/>
                    <a:gd name="T2" fmla="*/ 0 w 61"/>
                    <a:gd name="T3" fmla="*/ 48 h 67"/>
                    <a:gd name="T4" fmla="*/ 37 w 61"/>
                    <a:gd name="T5" fmla="*/ 0 h 67"/>
                    <a:gd name="T6" fmla="*/ 61 w 61"/>
                    <a:gd name="T7" fmla="*/ 17 h 67"/>
                    <a:gd name="T8" fmla="*/ 26 w 61"/>
                    <a:gd name="T9" fmla="*/ 67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1" h="67">
                      <a:moveTo>
                        <a:pt x="26" y="67"/>
                      </a:moveTo>
                      <a:lnTo>
                        <a:pt x="0" y="48"/>
                      </a:lnTo>
                      <a:lnTo>
                        <a:pt x="37" y="0"/>
                      </a:lnTo>
                      <a:lnTo>
                        <a:pt x="61" y="17"/>
                      </a:lnTo>
                      <a:lnTo>
                        <a:pt x="26" y="67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3BFBFF1D-6A37-45C6-ACD9-C2169BB03779}"/>
                </a:ext>
              </a:extLst>
            </p:cNvPr>
            <p:cNvSpPr/>
            <p:nvPr/>
          </p:nvSpPr>
          <p:spPr>
            <a:xfrm>
              <a:off x="6953285" y="4801999"/>
              <a:ext cx="1476883" cy="149766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endParaRPr>
            </a:p>
          </p:txBody>
        </p:sp>
      </p:grp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F04A6D5B-C512-43F6-8853-D13870CA10B3}"/>
              </a:ext>
            </a:extLst>
          </p:cNvPr>
          <p:cNvCxnSpPr>
            <a:cxnSpLocks/>
            <a:stCxn id="7" idx="56"/>
          </p:cNvCxnSpPr>
          <p:nvPr userDrawn="1"/>
        </p:nvCxnSpPr>
        <p:spPr>
          <a:xfrm>
            <a:off x="8922139" y="4968552"/>
            <a:ext cx="3269861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0358A89B-C4A0-4BF6-A7C2-3F1B9632BFBB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4628982"/>
            <a:ext cx="7894216" cy="80992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 Placeholder 58">
            <a:extLst>
              <a:ext uri="{FF2B5EF4-FFF2-40B4-BE49-F238E27FC236}">
                <a16:creationId xmlns:a16="http://schemas.microsoft.com/office/drawing/2014/main" id="{D8A7A6F7-5F58-448E-ABB3-AECDCAC6588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52500" y="1206500"/>
            <a:ext cx="5337175" cy="2257425"/>
          </a:xfrm>
        </p:spPr>
        <p:txBody>
          <a:bodyPr/>
          <a:lstStyle>
            <a:lvl1pPr marL="0" indent="0">
              <a:buNone/>
              <a:defRPr sz="6600">
                <a:latin typeface="Open Sans" panose="020B0606030504020204" pitchFamily="34" charset="0"/>
              </a:defRPr>
            </a:lvl1pPr>
          </a:lstStyle>
          <a:p>
            <a:pPr lvl="0"/>
            <a:r>
              <a:rPr lang="en-US" sz="6600">
                <a:latin typeface="+mj-lt"/>
              </a:rPr>
              <a:t>Section Header</a:t>
            </a:r>
            <a:endParaRPr lang="en-US"/>
          </a:p>
        </p:txBody>
      </p:sp>
      <p:sp>
        <p:nvSpPr>
          <p:cNvPr id="57" name="Text Placeholder 7">
            <a:extLst>
              <a:ext uri="{FF2B5EF4-FFF2-40B4-BE49-F238E27FC236}">
                <a16:creationId xmlns:a16="http://schemas.microsoft.com/office/drawing/2014/main" id="{466BA5B4-2110-4DC9-84D1-22C75C26BD2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057884" y="219411"/>
            <a:ext cx="1635171" cy="237789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Insert Breadcrumbs</a:t>
            </a:r>
          </a:p>
        </p:txBody>
      </p:sp>
    </p:spTree>
    <p:extLst>
      <p:ext uri="{BB962C8B-B14F-4D97-AF65-F5344CB8AC3E}">
        <p14:creationId xmlns:p14="http://schemas.microsoft.com/office/powerpoint/2010/main" val="580835431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lank, No Background Graph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EFC2F98-5944-4C9B-A2C3-BF4DC0C7C3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26865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9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EFC2F98-5944-4C9B-A2C3-BF4DC0C7C3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88F0F018-D966-4EAD-ADA1-27E4C83FDE2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057884" y="219411"/>
            <a:ext cx="1635171" cy="237789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Insert Breadcrumbs</a:t>
            </a:r>
          </a:p>
        </p:txBody>
      </p:sp>
    </p:spTree>
    <p:extLst>
      <p:ext uri="{BB962C8B-B14F-4D97-AF65-F5344CB8AC3E}">
        <p14:creationId xmlns:p14="http://schemas.microsoft.com/office/powerpoint/2010/main" val="401424937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58024577-B45C-4307-B071-8185E562CA7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057884" y="219411"/>
            <a:ext cx="1635171" cy="237789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Insert Breadcrumbs</a:t>
            </a:r>
          </a:p>
        </p:txBody>
      </p:sp>
    </p:spTree>
    <p:extLst>
      <p:ext uri="{BB962C8B-B14F-4D97-AF65-F5344CB8AC3E}">
        <p14:creationId xmlns:p14="http://schemas.microsoft.com/office/powerpoint/2010/main" val="401403276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B5188B57-0160-449D-92AF-EC970040379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057884" y="219411"/>
            <a:ext cx="1635171" cy="237789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Insert Breadcrumbs</a:t>
            </a:r>
          </a:p>
        </p:txBody>
      </p:sp>
    </p:spTree>
    <p:extLst>
      <p:ext uri="{BB962C8B-B14F-4D97-AF65-F5344CB8AC3E}">
        <p14:creationId xmlns:p14="http://schemas.microsoft.com/office/powerpoint/2010/main" val="4217249920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694944"/>
            <a:ext cx="10363200" cy="594360"/>
          </a:xfrm>
        </p:spPr>
        <p:txBody>
          <a:bodyPr vert="horz" lIns="0" tIns="45720" rIns="0" bIns="0" rtlCol="0" anchor="b" anchorCtr="0">
            <a:noAutofit/>
          </a:bodyPr>
          <a:lstStyle>
            <a:lvl1pPr>
              <a:defRPr lang="en-US" sz="3600" b="0" spc="-75" dirty="0">
                <a:latin typeface="Open Sans" panose="020B0606030504020204" pitchFamily="34" charset="0"/>
              </a:defRPr>
            </a:lvl1pPr>
          </a:lstStyle>
          <a:p>
            <a:pPr lvl="0" defTabSz="685800">
              <a:lnSpc>
                <a:spcPct val="85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E6F96248-15CC-45F2-91CF-AB25D194303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057884" y="219411"/>
            <a:ext cx="1635171" cy="237789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Insert Breadcrumbs</a:t>
            </a:r>
          </a:p>
        </p:txBody>
      </p:sp>
    </p:spTree>
    <p:extLst>
      <p:ext uri="{BB962C8B-B14F-4D97-AF65-F5344CB8AC3E}">
        <p14:creationId xmlns:p14="http://schemas.microsoft.com/office/powerpoint/2010/main" val="1176464836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, Breadcrumb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694944"/>
            <a:ext cx="10363200" cy="594360"/>
          </a:xfrm>
        </p:spPr>
        <p:txBody>
          <a:bodyPr vert="horz" lIns="0" tIns="45720" rIns="0" bIns="0" rtlCol="0" anchor="b" anchorCtr="0">
            <a:noAutofit/>
          </a:bodyPr>
          <a:lstStyle>
            <a:lvl1pPr>
              <a:defRPr lang="en-US" sz="3600" b="0" spc="-75" dirty="0">
                <a:latin typeface="Open Sans" panose="020B0606030504020204" pitchFamily="34" charset="0"/>
              </a:defRPr>
            </a:lvl1pPr>
          </a:lstStyle>
          <a:p>
            <a:pPr lvl="0" defTabSz="685800">
              <a:lnSpc>
                <a:spcPct val="85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FD545910-EC58-4E59-AC9B-9F096DAB358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4971" y="466344"/>
            <a:ext cx="3355848" cy="203200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900" b="1" kern="0" cap="all" spc="250" baseline="0" dirty="0">
                <a:solidFill>
                  <a:schemeClr val="accent5">
                    <a:lumMod val="60000"/>
                    <a:lumOff val="40000"/>
                  </a:schemeClr>
                </a:solidFill>
                <a:ea typeface="Nexa Black" charset="0"/>
                <a:cs typeface="Nexa Black" charset="0"/>
              </a:defRPr>
            </a:lvl1pPr>
          </a:lstStyle>
          <a:p>
            <a:pPr marL="228600" lvl="0" indent="-228600"/>
            <a:r>
              <a:rPr lang="en-US"/>
              <a:t>BREADCRUMBS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2BDEECD8-C714-468A-ADDC-78DC7383930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057884" y="219411"/>
            <a:ext cx="1635171" cy="237789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Insert Breadcrumbs</a:t>
            </a:r>
          </a:p>
        </p:txBody>
      </p:sp>
    </p:spTree>
    <p:extLst>
      <p:ext uri="{BB962C8B-B14F-4D97-AF65-F5344CB8AC3E}">
        <p14:creationId xmlns:p14="http://schemas.microsoft.com/office/powerpoint/2010/main" val="110896319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  <a:latin typeface="Open Sans" panose="020B0606030504020204" pitchFamily="34" charset="0"/>
              </a:rPr>
              <a:t>Presentation title</a:t>
            </a:r>
            <a:br>
              <a:rPr lang="en-US" sz="650" noProof="0">
                <a:solidFill>
                  <a:schemeClr val="bg1"/>
                </a:solidFill>
                <a:latin typeface="Open Sans" panose="020B0606030504020204" pitchFamily="34" charset="0"/>
              </a:rPr>
            </a:br>
            <a:r>
              <a:rPr lang="en-US" sz="650" noProof="0">
                <a:solidFill>
                  <a:schemeClr val="bg1"/>
                </a:solidFill>
                <a:latin typeface="Open Sans" panose="020B0606030504020204" pitchFamily="34" charset="0"/>
              </a:rPr>
              <a:t>[To edit, click View &gt; Slide Master &gt; Slide Master]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  <a:latin typeface="Open Sans" panose="020B0606030504020204" pitchFamily="34" charset="0"/>
              </a:rPr>
              <a:t>Member firms and DTTL: Insert appropriate copyright</a:t>
            </a:r>
            <a:br>
              <a:rPr lang="en-US" sz="650" noProof="0">
                <a:solidFill>
                  <a:schemeClr val="bg1"/>
                </a:solidFill>
                <a:latin typeface="Open Sans" panose="020B0606030504020204" pitchFamily="34" charset="0"/>
              </a:rPr>
            </a:br>
            <a:r>
              <a:rPr lang="en-US" sz="650" noProof="0">
                <a:solidFill>
                  <a:schemeClr val="bg1"/>
                </a:solidFill>
                <a:latin typeface="Open Sans" panose="020B0606030504020204" pitchFamily="34" charset="0"/>
              </a:rPr>
              <a:t>[To edit, click View &gt; Slide Master &gt; Slide Master]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  <a:latin typeface="Open Sans" panose="020B0606030504020204" pitchFamily="34" charset="0"/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  <a:latin typeface="Open Sans" panose="020B0606030504020204" pitchFamily="34" charset="0"/>
            </a:endParaRP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DED2B324-9E95-407B-B65E-892F6ECEC86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057884" y="219411"/>
            <a:ext cx="1635171" cy="237789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Insert Breadcrumbs</a:t>
            </a:r>
          </a:p>
        </p:txBody>
      </p:sp>
    </p:spTree>
    <p:extLst>
      <p:ext uri="{BB962C8B-B14F-4D97-AF65-F5344CB8AC3E}">
        <p14:creationId xmlns:p14="http://schemas.microsoft.com/office/powerpoint/2010/main" val="137834544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, Right, Subhead &amp; Breadcrumb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B912B5A-4EFE-4F10-9322-C971DDF230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485682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3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B912B5A-4EFE-4F10-9322-C971DDF230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CF43516-C935-4785-8727-EA48BADEDCC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hronicle Display Black" pitchFamily="50" charset="0"/>
              <a:sym typeface="Chronicle Display Black" pitchFamily="50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DFAB292-D9D0-4411-8456-90C02DB401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0" y="669544"/>
            <a:ext cx="6137512" cy="38139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838CA61B-8DBB-4395-9E9F-405E5CBF79F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4806950" cy="6858000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accent6"/>
                </a:solidFill>
              </a:defRPr>
            </a:lvl1pPr>
          </a:lstStyle>
          <a:p>
            <a:r>
              <a:rPr lang="en-US"/>
              <a:t>Click to insert pictur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6650516E-641C-4EFA-8CA7-4E0C60B42CE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97500" y="1050936"/>
            <a:ext cx="6137512" cy="381392"/>
          </a:xfrm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sz="1400"/>
              <a:t>Click to edit Master text styles</a:t>
            </a:r>
            <a:endParaRPr lang="en-US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E0280C66-47F5-4458-AA31-95CF3025E37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397500" y="466344"/>
            <a:ext cx="3355848" cy="203200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900" b="1" kern="0" cap="all" spc="250" baseline="0" dirty="0">
                <a:solidFill>
                  <a:schemeClr val="accent5">
                    <a:lumMod val="60000"/>
                    <a:lumOff val="40000"/>
                  </a:schemeClr>
                </a:solidFill>
                <a:ea typeface="Nexa Black" charset="0"/>
                <a:cs typeface="Nexa Black" charset="0"/>
              </a:defRPr>
            </a:lvl1pPr>
          </a:lstStyle>
          <a:p>
            <a:pPr marL="228600" lvl="0" indent="-228600"/>
            <a:r>
              <a:rPr lang="en-US"/>
              <a:t>BREADCRUMBS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C13E8ACD-2EFB-49A1-9929-25881BEE23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057884" y="219411"/>
            <a:ext cx="1635171" cy="237789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Insert Breadcrumbs</a:t>
            </a:r>
          </a:p>
        </p:txBody>
      </p:sp>
    </p:spTree>
    <p:extLst>
      <p:ext uri="{BB962C8B-B14F-4D97-AF65-F5344CB8AC3E}">
        <p14:creationId xmlns:p14="http://schemas.microsoft.com/office/powerpoint/2010/main" val="2392573224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Divider">
    <p:bg>
      <p:bgPr>
        <a:solidFill>
          <a:srgbClr val="FDD3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44B521E-45B1-4DF5-AF83-CF81FF72A0A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671578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7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44B521E-45B1-4DF5-AF83-CF81FF72A0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3">
            <a:extLst>
              <a:ext uri="{FF2B5EF4-FFF2-40B4-BE49-F238E27FC236}">
                <a16:creationId xmlns:a16="http://schemas.microsoft.com/office/drawing/2014/main" id="{B9F01BCD-D0E7-4C16-818C-FDF6C61207F4}"/>
              </a:ext>
            </a:extLst>
          </p:cNvPr>
          <p:cNvGrpSpPr/>
          <p:nvPr userDrawn="1"/>
        </p:nvGrpSpPr>
        <p:grpSpPr>
          <a:xfrm>
            <a:off x="6591045" y="2239972"/>
            <a:ext cx="2452738" cy="2728580"/>
            <a:chOff x="6953285" y="3278976"/>
            <a:chExt cx="1506831" cy="1682464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035AD732-4189-4F7D-8A59-BEA1A0C74690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291345" y="3278976"/>
              <a:ext cx="1168771" cy="1682464"/>
              <a:chOff x="5614264" y="2194216"/>
              <a:chExt cx="2755900" cy="3967163"/>
            </a:xfrm>
          </p:grpSpPr>
          <p:sp>
            <p:nvSpPr>
              <p:cNvPr id="7" name="Freeform 55">
                <a:extLst>
                  <a:ext uri="{FF2B5EF4-FFF2-40B4-BE49-F238E27FC236}">
                    <a16:creationId xmlns:a16="http://schemas.microsoft.com/office/drawing/2014/main" id="{4E44469E-381F-4E01-A7CB-1C0D52CCBF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14264" y="2194216"/>
                <a:ext cx="2755900" cy="3967163"/>
              </a:xfrm>
              <a:custGeom>
                <a:avLst/>
                <a:gdLst>
                  <a:gd name="T0" fmla="*/ 1484 w 1736"/>
                  <a:gd name="T1" fmla="*/ 1601 h 2499"/>
                  <a:gd name="T2" fmla="*/ 1675 w 1736"/>
                  <a:gd name="T3" fmla="*/ 999 h 2499"/>
                  <a:gd name="T4" fmla="*/ 1696 w 1736"/>
                  <a:gd name="T5" fmla="*/ 908 h 2499"/>
                  <a:gd name="T6" fmla="*/ 1705 w 1736"/>
                  <a:gd name="T7" fmla="*/ 815 h 2499"/>
                  <a:gd name="T8" fmla="*/ 1705 w 1736"/>
                  <a:gd name="T9" fmla="*/ 745 h 2499"/>
                  <a:gd name="T10" fmla="*/ 1690 w 1736"/>
                  <a:gd name="T11" fmla="*/ 632 h 2499"/>
                  <a:gd name="T12" fmla="*/ 1660 w 1736"/>
                  <a:gd name="T13" fmla="*/ 526 h 2499"/>
                  <a:gd name="T14" fmla="*/ 1614 w 1736"/>
                  <a:gd name="T15" fmla="*/ 424 h 2499"/>
                  <a:gd name="T16" fmla="*/ 1555 w 1736"/>
                  <a:gd name="T17" fmla="*/ 334 h 2499"/>
                  <a:gd name="T18" fmla="*/ 1484 w 1736"/>
                  <a:gd name="T19" fmla="*/ 252 h 2499"/>
                  <a:gd name="T20" fmla="*/ 1403 w 1736"/>
                  <a:gd name="T21" fmla="*/ 180 h 2499"/>
                  <a:gd name="T22" fmla="*/ 1310 w 1736"/>
                  <a:gd name="T23" fmla="*/ 122 h 2499"/>
                  <a:gd name="T24" fmla="*/ 1210 w 1736"/>
                  <a:gd name="T25" fmla="*/ 76 h 2499"/>
                  <a:gd name="T26" fmla="*/ 1103 w 1736"/>
                  <a:gd name="T27" fmla="*/ 46 h 2499"/>
                  <a:gd name="T28" fmla="*/ 990 w 1736"/>
                  <a:gd name="T29" fmla="*/ 32 h 2499"/>
                  <a:gd name="T30" fmla="*/ 914 w 1736"/>
                  <a:gd name="T31" fmla="*/ 32 h 2499"/>
                  <a:gd name="T32" fmla="*/ 801 w 1736"/>
                  <a:gd name="T33" fmla="*/ 46 h 2499"/>
                  <a:gd name="T34" fmla="*/ 693 w 1736"/>
                  <a:gd name="T35" fmla="*/ 76 h 2499"/>
                  <a:gd name="T36" fmla="*/ 593 w 1736"/>
                  <a:gd name="T37" fmla="*/ 122 h 2499"/>
                  <a:gd name="T38" fmla="*/ 500 w 1736"/>
                  <a:gd name="T39" fmla="*/ 180 h 2499"/>
                  <a:gd name="T40" fmla="*/ 419 w 1736"/>
                  <a:gd name="T41" fmla="*/ 252 h 2499"/>
                  <a:gd name="T42" fmla="*/ 349 w 1736"/>
                  <a:gd name="T43" fmla="*/ 334 h 2499"/>
                  <a:gd name="T44" fmla="*/ 289 w 1736"/>
                  <a:gd name="T45" fmla="*/ 424 h 2499"/>
                  <a:gd name="T46" fmla="*/ 243 w 1736"/>
                  <a:gd name="T47" fmla="*/ 526 h 2499"/>
                  <a:gd name="T48" fmla="*/ 213 w 1736"/>
                  <a:gd name="T49" fmla="*/ 632 h 2499"/>
                  <a:gd name="T50" fmla="*/ 198 w 1736"/>
                  <a:gd name="T51" fmla="*/ 745 h 2499"/>
                  <a:gd name="T52" fmla="*/ 197 w 1736"/>
                  <a:gd name="T53" fmla="*/ 882 h 2499"/>
                  <a:gd name="T54" fmla="*/ 265 w 1736"/>
                  <a:gd name="T55" fmla="*/ 1845 h 2499"/>
                  <a:gd name="T56" fmla="*/ 658 w 1736"/>
                  <a:gd name="T57" fmla="*/ 2188 h 2499"/>
                  <a:gd name="T58" fmla="*/ 198 w 1736"/>
                  <a:gd name="T59" fmla="*/ 1391 h 2499"/>
                  <a:gd name="T60" fmla="*/ 167 w 1736"/>
                  <a:gd name="T61" fmla="*/ 784 h 2499"/>
                  <a:gd name="T62" fmla="*/ 172 w 1736"/>
                  <a:gd name="T63" fmla="*/ 704 h 2499"/>
                  <a:gd name="T64" fmla="*/ 193 w 1736"/>
                  <a:gd name="T65" fmla="*/ 589 h 2499"/>
                  <a:gd name="T66" fmla="*/ 230 w 1736"/>
                  <a:gd name="T67" fmla="*/ 480 h 2499"/>
                  <a:gd name="T68" fmla="*/ 282 w 1736"/>
                  <a:gd name="T69" fmla="*/ 378 h 2499"/>
                  <a:gd name="T70" fmla="*/ 347 w 1736"/>
                  <a:gd name="T71" fmla="*/ 285 h 2499"/>
                  <a:gd name="T72" fmla="*/ 424 w 1736"/>
                  <a:gd name="T73" fmla="*/ 204 h 2499"/>
                  <a:gd name="T74" fmla="*/ 513 w 1736"/>
                  <a:gd name="T75" fmla="*/ 133 h 2499"/>
                  <a:gd name="T76" fmla="*/ 612 w 1736"/>
                  <a:gd name="T77" fmla="*/ 78 h 2499"/>
                  <a:gd name="T78" fmla="*/ 719 w 1736"/>
                  <a:gd name="T79" fmla="*/ 35 h 2499"/>
                  <a:gd name="T80" fmla="*/ 832 w 1736"/>
                  <a:gd name="T81" fmla="*/ 9 h 2499"/>
                  <a:gd name="T82" fmla="*/ 953 w 1736"/>
                  <a:gd name="T83" fmla="*/ 0 h 2499"/>
                  <a:gd name="T84" fmla="*/ 1032 w 1736"/>
                  <a:gd name="T85" fmla="*/ 4 h 2499"/>
                  <a:gd name="T86" fmla="*/ 1147 w 1736"/>
                  <a:gd name="T87" fmla="*/ 24 h 2499"/>
                  <a:gd name="T88" fmla="*/ 1256 w 1736"/>
                  <a:gd name="T89" fmla="*/ 61 h 2499"/>
                  <a:gd name="T90" fmla="*/ 1358 w 1736"/>
                  <a:gd name="T91" fmla="*/ 113 h 2499"/>
                  <a:gd name="T92" fmla="*/ 1451 w 1736"/>
                  <a:gd name="T93" fmla="*/ 180 h 2499"/>
                  <a:gd name="T94" fmla="*/ 1532 w 1736"/>
                  <a:gd name="T95" fmla="*/ 258 h 2499"/>
                  <a:gd name="T96" fmla="*/ 1601 w 1736"/>
                  <a:gd name="T97" fmla="*/ 346 h 2499"/>
                  <a:gd name="T98" fmla="*/ 1658 w 1736"/>
                  <a:gd name="T99" fmla="*/ 445 h 2499"/>
                  <a:gd name="T100" fmla="*/ 1701 w 1736"/>
                  <a:gd name="T101" fmla="*/ 552 h 2499"/>
                  <a:gd name="T102" fmla="*/ 1727 w 1736"/>
                  <a:gd name="T103" fmla="*/ 665 h 2499"/>
                  <a:gd name="T104" fmla="*/ 1736 w 1736"/>
                  <a:gd name="T105" fmla="*/ 784 h 2499"/>
                  <a:gd name="T106" fmla="*/ 1733 w 1736"/>
                  <a:gd name="T107" fmla="*/ 849 h 2499"/>
                  <a:gd name="T108" fmla="*/ 1720 w 1736"/>
                  <a:gd name="T109" fmla="*/ 945 h 2499"/>
                  <a:gd name="T110" fmla="*/ 1694 w 1736"/>
                  <a:gd name="T111" fmla="*/ 1038 h 2499"/>
                  <a:gd name="T112" fmla="*/ 1625 w 1736"/>
                  <a:gd name="T113" fmla="*/ 2499 h 24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736" h="2499">
                    <a:moveTo>
                      <a:pt x="1625" y="2499"/>
                    </a:moveTo>
                    <a:lnTo>
                      <a:pt x="1484" y="1603"/>
                    </a:lnTo>
                    <a:lnTo>
                      <a:pt x="1484" y="1601"/>
                    </a:lnTo>
                    <a:lnTo>
                      <a:pt x="1664" y="1028"/>
                    </a:lnTo>
                    <a:lnTo>
                      <a:pt x="1664" y="1028"/>
                    </a:lnTo>
                    <a:lnTo>
                      <a:pt x="1675" y="999"/>
                    </a:lnTo>
                    <a:lnTo>
                      <a:pt x="1683" y="969"/>
                    </a:lnTo>
                    <a:lnTo>
                      <a:pt x="1690" y="939"/>
                    </a:lnTo>
                    <a:lnTo>
                      <a:pt x="1696" y="908"/>
                    </a:lnTo>
                    <a:lnTo>
                      <a:pt x="1699" y="878"/>
                    </a:lnTo>
                    <a:lnTo>
                      <a:pt x="1703" y="847"/>
                    </a:lnTo>
                    <a:lnTo>
                      <a:pt x="1705" y="815"/>
                    </a:lnTo>
                    <a:lnTo>
                      <a:pt x="1705" y="784"/>
                    </a:lnTo>
                    <a:lnTo>
                      <a:pt x="1705" y="784"/>
                    </a:lnTo>
                    <a:lnTo>
                      <a:pt x="1705" y="745"/>
                    </a:lnTo>
                    <a:lnTo>
                      <a:pt x="1701" y="708"/>
                    </a:lnTo>
                    <a:lnTo>
                      <a:pt x="1697" y="669"/>
                    </a:lnTo>
                    <a:lnTo>
                      <a:pt x="1690" y="632"/>
                    </a:lnTo>
                    <a:lnTo>
                      <a:pt x="1683" y="597"/>
                    </a:lnTo>
                    <a:lnTo>
                      <a:pt x="1671" y="560"/>
                    </a:lnTo>
                    <a:lnTo>
                      <a:pt x="1660" y="526"/>
                    </a:lnTo>
                    <a:lnTo>
                      <a:pt x="1645" y="491"/>
                    </a:lnTo>
                    <a:lnTo>
                      <a:pt x="1631" y="458"/>
                    </a:lnTo>
                    <a:lnTo>
                      <a:pt x="1614" y="424"/>
                    </a:lnTo>
                    <a:lnTo>
                      <a:pt x="1595" y="393"/>
                    </a:lnTo>
                    <a:lnTo>
                      <a:pt x="1577" y="363"/>
                    </a:lnTo>
                    <a:lnTo>
                      <a:pt x="1555" y="334"/>
                    </a:lnTo>
                    <a:lnTo>
                      <a:pt x="1532" y="306"/>
                    </a:lnTo>
                    <a:lnTo>
                      <a:pt x="1510" y="278"/>
                    </a:lnTo>
                    <a:lnTo>
                      <a:pt x="1484" y="252"/>
                    </a:lnTo>
                    <a:lnTo>
                      <a:pt x="1458" y="226"/>
                    </a:lnTo>
                    <a:lnTo>
                      <a:pt x="1431" y="202"/>
                    </a:lnTo>
                    <a:lnTo>
                      <a:pt x="1403" y="180"/>
                    </a:lnTo>
                    <a:lnTo>
                      <a:pt x="1373" y="159"/>
                    </a:lnTo>
                    <a:lnTo>
                      <a:pt x="1342" y="139"/>
                    </a:lnTo>
                    <a:lnTo>
                      <a:pt x="1310" y="122"/>
                    </a:lnTo>
                    <a:lnTo>
                      <a:pt x="1279" y="106"/>
                    </a:lnTo>
                    <a:lnTo>
                      <a:pt x="1245" y="89"/>
                    </a:lnTo>
                    <a:lnTo>
                      <a:pt x="1210" y="76"/>
                    </a:lnTo>
                    <a:lnTo>
                      <a:pt x="1175" y="65"/>
                    </a:lnTo>
                    <a:lnTo>
                      <a:pt x="1140" y="54"/>
                    </a:lnTo>
                    <a:lnTo>
                      <a:pt x="1103" y="46"/>
                    </a:lnTo>
                    <a:lnTo>
                      <a:pt x="1066" y="39"/>
                    </a:lnTo>
                    <a:lnTo>
                      <a:pt x="1028" y="35"/>
                    </a:lnTo>
                    <a:lnTo>
                      <a:pt x="990" y="32"/>
                    </a:lnTo>
                    <a:lnTo>
                      <a:pt x="953" y="30"/>
                    </a:lnTo>
                    <a:lnTo>
                      <a:pt x="953" y="30"/>
                    </a:lnTo>
                    <a:lnTo>
                      <a:pt x="914" y="32"/>
                    </a:lnTo>
                    <a:lnTo>
                      <a:pt x="875" y="35"/>
                    </a:lnTo>
                    <a:lnTo>
                      <a:pt x="838" y="39"/>
                    </a:lnTo>
                    <a:lnTo>
                      <a:pt x="801" y="46"/>
                    </a:lnTo>
                    <a:lnTo>
                      <a:pt x="764" y="54"/>
                    </a:lnTo>
                    <a:lnTo>
                      <a:pt x="728" y="65"/>
                    </a:lnTo>
                    <a:lnTo>
                      <a:pt x="693" y="76"/>
                    </a:lnTo>
                    <a:lnTo>
                      <a:pt x="658" y="89"/>
                    </a:lnTo>
                    <a:lnTo>
                      <a:pt x="625" y="106"/>
                    </a:lnTo>
                    <a:lnTo>
                      <a:pt x="593" y="122"/>
                    </a:lnTo>
                    <a:lnTo>
                      <a:pt x="562" y="139"/>
                    </a:lnTo>
                    <a:lnTo>
                      <a:pt x="530" y="159"/>
                    </a:lnTo>
                    <a:lnTo>
                      <a:pt x="500" y="180"/>
                    </a:lnTo>
                    <a:lnTo>
                      <a:pt x="473" y="202"/>
                    </a:lnTo>
                    <a:lnTo>
                      <a:pt x="445" y="226"/>
                    </a:lnTo>
                    <a:lnTo>
                      <a:pt x="419" y="252"/>
                    </a:lnTo>
                    <a:lnTo>
                      <a:pt x="395" y="278"/>
                    </a:lnTo>
                    <a:lnTo>
                      <a:pt x="371" y="306"/>
                    </a:lnTo>
                    <a:lnTo>
                      <a:pt x="349" y="334"/>
                    </a:lnTo>
                    <a:lnTo>
                      <a:pt x="326" y="363"/>
                    </a:lnTo>
                    <a:lnTo>
                      <a:pt x="308" y="393"/>
                    </a:lnTo>
                    <a:lnTo>
                      <a:pt x="289" y="424"/>
                    </a:lnTo>
                    <a:lnTo>
                      <a:pt x="273" y="458"/>
                    </a:lnTo>
                    <a:lnTo>
                      <a:pt x="258" y="491"/>
                    </a:lnTo>
                    <a:lnTo>
                      <a:pt x="243" y="526"/>
                    </a:lnTo>
                    <a:lnTo>
                      <a:pt x="232" y="560"/>
                    </a:lnTo>
                    <a:lnTo>
                      <a:pt x="223" y="597"/>
                    </a:lnTo>
                    <a:lnTo>
                      <a:pt x="213" y="632"/>
                    </a:lnTo>
                    <a:lnTo>
                      <a:pt x="206" y="669"/>
                    </a:lnTo>
                    <a:lnTo>
                      <a:pt x="202" y="708"/>
                    </a:lnTo>
                    <a:lnTo>
                      <a:pt x="198" y="745"/>
                    </a:lnTo>
                    <a:lnTo>
                      <a:pt x="198" y="784"/>
                    </a:lnTo>
                    <a:lnTo>
                      <a:pt x="197" y="878"/>
                    </a:lnTo>
                    <a:lnTo>
                      <a:pt x="197" y="882"/>
                    </a:lnTo>
                    <a:lnTo>
                      <a:pt x="41" y="1360"/>
                    </a:lnTo>
                    <a:lnTo>
                      <a:pt x="226" y="1360"/>
                    </a:lnTo>
                    <a:lnTo>
                      <a:pt x="265" y="1845"/>
                    </a:lnTo>
                    <a:lnTo>
                      <a:pt x="632" y="1801"/>
                    </a:lnTo>
                    <a:lnTo>
                      <a:pt x="688" y="2183"/>
                    </a:lnTo>
                    <a:lnTo>
                      <a:pt x="658" y="2188"/>
                    </a:lnTo>
                    <a:lnTo>
                      <a:pt x="606" y="1834"/>
                    </a:lnTo>
                    <a:lnTo>
                      <a:pt x="237" y="1879"/>
                    </a:lnTo>
                    <a:lnTo>
                      <a:pt x="198" y="1391"/>
                    </a:lnTo>
                    <a:lnTo>
                      <a:pt x="0" y="1391"/>
                    </a:lnTo>
                    <a:lnTo>
                      <a:pt x="167" y="875"/>
                    </a:lnTo>
                    <a:lnTo>
                      <a:pt x="167" y="784"/>
                    </a:lnTo>
                    <a:lnTo>
                      <a:pt x="167" y="784"/>
                    </a:lnTo>
                    <a:lnTo>
                      <a:pt x="169" y="743"/>
                    </a:lnTo>
                    <a:lnTo>
                      <a:pt x="172" y="704"/>
                    </a:lnTo>
                    <a:lnTo>
                      <a:pt x="176" y="665"/>
                    </a:lnTo>
                    <a:lnTo>
                      <a:pt x="184" y="626"/>
                    </a:lnTo>
                    <a:lnTo>
                      <a:pt x="193" y="589"/>
                    </a:lnTo>
                    <a:lnTo>
                      <a:pt x="202" y="552"/>
                    </a:lnTo>
                    <a:lnTo>
                      <a:pt x="215" y="515"/>
                    </a:lnTo>
                    <a:lnTo>
                      <a:pt x="230" y="480"/>
                    </a:lnTo>
                    <a:lnTo>
                      <a:pt x="245" y="445"/>
                    </a:lnTo>
                    <a:lnTo>
                      <a:pt x="263" y="411"/>
                    </a:lnTo>
                    <a:lnTo>
                      <a:pt x="282" y="378"/>
                    </a:lnTo>
                    <a:lnTo>
                      <a:pt x="302" y="346"/>
                    </a:lnTo>
                    <a:lnTo>
                      <a:pt x="324" y="315"/>
                    </a:lnTo>
                    <a:lnTo>
                      <a:pt x="347" y="285"/>
                    </a:lnTo>
                    <a:lnTo>
                      <a:pt x="371" y="258"/>
                    </a:lnTo>
                    <a:lnTo>
                      <a:pt x="397" y="230"/>
                    </a:lnTo>
                    <a:lnTo>
                      <a:pt x="424" y="204"/>
                    </a:lnTo>
                    <a:lnTo>
                      <a:pt x="454" y="180"/>
                    </a:lnTo>
                    <a:lnTo>
                      <a:pt x="484" y="156"/>
                    </a:lnTo>
                    <a:lnTo>
                      <a:pt x="513" y="133"/>
                    </a:lnTo>
                    <a:lnTo>
                      <a:pt x="545" y="113"/>
                    </a:lnTo>
                    <a:lnTo>
                      <a:pt x="578" y="95"/>
                    </a:lnTo>
                    <a:lnTo>
                      <a:pt x="612" y="78"/>
                    </a:lnTo>
                    <a:lnTo>
                      <a:pt x="647" y="61"/>
                    </a:lnTo>
                    <a:lnTo>
                      <a:pt x="682" y="48"/>
                    </a:lnTo>
                    <a:lnTo>
                      <a:pt x="719" y="35"/>
                    </a:lnTo>
                    <a:lnTo>
                      <a:pt x="756" y="24"/>
                    </a:lnTo>
                    <a:lnTo>
                      <a:pt x="793" y="17"/>
                    </a:lnTo>
                    <a:lnTo>
                      <a:pt x="832" y="9"/>
                    </a:lnTo>
                    <a:lnTo>
                      <a:pt x="871" y="4"/>
                    </a:lnTo>
                    <a:lnTo>
                      <a:pt x="912" y="2"/>
                    </a:lnTo>
                    <a:lnTo>
                      <a:pt x="953" y="0"/>
                    </a:lnTo>
                    <a:lnTo>
                      <a:pt x="953" y="0"/>
                    </a:lnTo>
                    <a:lnTo>
                      <a:pt x="991" y="2"/>
                    </a:lnTo>
                    <a:lnTo>
                      <a:pt x="1032" y="4"/>
                    </a:lnTo>
                    <a:lnTo>
                      <a:pt x="1071" y="9"/>
                    </a:lnTo>
                    <a:lnTo>
                      <a:pt x="1110" y="17"/>
                    </a:lnTo>
                    <a:lnTo>
                      <a:pt x="1147" y="24"/>
                    </a:lnTo>
                    <a:lnTo>
                      <a:pt x="1184" y="35"/>
                    </a:lnTo>
                    <a:lnTo>
                      <a:pt x="1221" y="48"/>
                    </a:lnTo>
                    <a:lnTo>
                      <a:pt x="1256" y="61"/>
                    </a:lnTo>
                    <a:lnTo>
                      <a:pt x="1292" y="78"/>
                    </a:lnTo>
                    <a:lnTo>
                      <a:pt x="1325" y="95"/>
                    </a:lnTo>
                    <a:lnTo>
                      <a:pt x="1358" y="113"/>
                    </a:lnTo>
                    <a:lnTo>
                      <a:pt x="1390" y="133"/>
                    </a:lnTo>
                    <a:lnTo>
                      <a:pt x="1421" y="156"/>
                    </a:lnTo>
                    <a:lnTo>
                      <a:pt x="1451" y="180"/>
                    </a:lnTo>
                    <a:lnTo>
                      <a:pt x="1479" y="204"/>
                    </a:lnTo>
                    <a:lnTo>
                      <a:pt x="1507" y="230"/>
                    </a:lnTo>
                    <a:lnTo>
                      <a:pt x="1532" y="258"/>
                    </a:lnTo>
                    <a:lnTo>
                      <a:pt x="1557" y="285"/>
                    </a:lnTo>
                    <a:lnTo>
                      <a:pt x="1581" y="315"/>
                    </a:lnTo>
                    <a:lnTo>
                      <a:pt x="1601" y="346"/>
                    </a:lnTo>
                    <a:lnTo>
                      <a:pt x="1621" y="378"/>
                    </a:lnTo>
                    <a:lnTo>
                      <a:pt x="1642" y="411"/>
                    </a:lnTo>
                    <a:lnTo>
                      <a:pt x="1658" y="445"/>
                    </a:lnTo>
                    <a:lnTo>
                      <a:pt x="1673" y="480"/>
                    </a:lnTo>
                    <a:lnTo>
                      <a:pt x="1688" y="515"/>
                    </a:lnTo>
                    <a:lnTo>
                      <a:pt x="1701" y="552"/>
                    </a:lnTo>
                    <a:lnTo>
                      <a:pt x="1710" y="589"/>
                    </a:lnTo>
                    <a:lnTo>
                      <a:pt x="1720" y="626"/>
                    </a:lnTo>
                    <a:lnTo>
                      <a:pt x="1727" y="665"/>
                    </a:lnTo>
                    <a:lnTo>
                      <a:pt x="1733" y="704"/>
                    </a:lnTo>
                    <a:lnTo>
                      <a:pt x="1734" y="745"/>
                    </a:lnTo>
                    <a:lnTo>
                      <a:pt x="1736" y="784"/>
                    </a:lnTo>
                    <a:lnTo>
                      <a:pt x="1736" y="784"/>
                    </a:lnTo>
                    <a:lnTo>
                      <a:pt x="1734" y="817"/>
                    </a:lnTo>
                    <a:lnTo>
                      <a:pt x="1733" y="849"/>
                    </a:lnTo>
                    <a:lnTo>
                      <a:pt x="1731" y="882"/>
                    </a:lnTo>
                    <a:lnTo>
                      <a:pt x="1725" y="913"/>
                    </a:lnTo>
                    <a:lnTo>
                      <a:pt x="1720" y="945"/>
                    </a:lnTo>
                    <a:lnTo>
                      <a:pt x="1712" y="976"/>
                    </a:lnTo>
                    <a:lnTo>
                      <a:pt x="1703" y="1008"/>
                    </a:lnTo>
                    <a:lnTo>
                      <a:pt x="1694" y="1038"/>
                    </a:lnTo>
                    <a:lnTo>
                      <a:pt x="1516" y="1604"/>
                    </a:lnTo>
                    <a:lnTo>
                      <a:pt x="1657" y="2494"/>
                    </a:lnTo>
                    <a:lnTo>
                      <a:pt x="1625" y="249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grpSp>
            <p:nvGrpSpPr>
              <p:cNvPr id="8" name="Group 7">
                <a:extLst>
                  <a:ext uri="{FF2B5EF4-FFF2-40B4-BE49-F238E27FC236}">
                    <a16:creationId xmlns:a16="http://schemas.microsoft.com/office/drawing/2014/main" id="{1884EB90-856A-4B3D-8C41-380E81E27851}"/>
                  </a:ext>
                </a:extLst>
              </p:cNvPr>
              <p:cNvGrpSpPr/>
              <p:nvPr/>
            </p:nvGrpSpPr>
            <p:grpSpPr>
              <a:xfrm>
                <a:off x="6207989" y="2521241"/>
                <a:ext cx="1833563" cy="3140075"/>
                <a:chOff x="7651751" y="2178051"/>
                <a:chExt cx="1833563" cy="3140075"/>
              </a:xfrm>
            </p:grpSpPr>
            <p:sp>
              <p:nvSpPr>
                <p:cNvPr id="9" name="Rectangle 8">
                  <a:extLst>
                    <a:ext uri="{FF2B5EF4-FFF2-40B4-BE49-F238E27FC236}">
                      <a16:creationId xmlns:a16="http://schemas.microsoft.com/office/drawing/2014/main" id="{5FF9FA55-6F13-46E9-B9A9-A10B60C42CD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4475163"/>
                  <a:ext cx="49213" cy="46038"/>
                </a:xfrm>
                <a:prstGeom prst="rect">
                  <a:avLst/>
                </a:prstGeom>
                <a:solidFill>
                  <a:srgbClr val="52585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0" name="Rectangle 9">
                  <a:extLst>
                    <a:ext uri="{FF2B5EF4-FFF2-40B4-BE49-F238E27FC236}">
                      <a16:creationId xmlns:a16="http://schemas.microsoft.com/office/drawing/2014/main" id="{5E05CB57-E35B-471D-BA9D-6AE183DE802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4575176"/>
                  <a:ext cx="49213" cy="46038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1" name="Rectangle 10">
                  <a:extLst>
                    <a:ext uri="{FF2B5EF4-FFF2-40B4-BE49-F238E27FC236}">
                      <a16:creationId xmlns:a16="http://schemas.microsoft.com/office/drawing/2014/main" id="{917B6F65-886C-4190-9FA3-150088DB411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4675188"/>
                  <a:ext cx="49213" cy="46038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2" name="Rectangle 11">
                  <a:extLst>
                    <a:ext uri="{FF2B5EF4-FFF2-40B4-BE49-F238E27FC236}">
                      <a16:creationId xmlns:a16="http://schemas.microsoft.com/office/drawing/2014/main" id="{D04EF3EF-7492-4924-B3E4-4CB85BE2936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4775201"/>
                  <a:ext cx="49213" cy="46038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3" name="Rectangle 12">
                  <a:extLst>
                    <a:ext uri="{FF2B5EF4-FFF2-40B4-BE49-F238E27FC236}">
                      <a16:creationId xmlns:a16="http://schemas.microsoft.com/office/drawing/2014/main" id="{DB852891-76E9-4DE8-99BB-C456338C691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4872038"/>
                  <a:ext cx="49213" cy="49213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4" name="Rectangle 13">
                  <a:extLst>
                    <a:ext uri="{FF2B5EF4-FFF2-40B4-BE49-F238E27FC236}">
                      <a16:creationId xmlns:a16="http://schemas.microsoft.com/office/drawing/2014/main" id="{76F966E4-BDBB-4EA2-AF2B-CE2D055C5C0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4972051"/>
                  <a:ext cx="49213" cy="49213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5" name="Rectangle 14">
                  <a:extLst>
                    <a:ext uri="{FF2B5EF4-FFF2-40B4-BE49-F238E27FC236}">
                      <a16:creationId xmlns:a16="http://schemas.microsoft.com/office/drawing/2014/main" id="{47D17988-145F-4083-A8C8-26E7E72E0F0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5072063"/>
                  <a:ext cx="49213" cy="49213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6" name="Rectangle 15">
                  <a:extLst>
                    <a:ext uri="{FF2B5EF4-FFF2-40B4-BE49-F238E27FC236}">
                      <a16:creationId xmlns:a16="http://schemas.microsoft.com/office/drawing/2014/main" id="{6132E3B0-8425-460B-B1F1-FCACFFD24B4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5172076"/>
                  <a:ext cx="49213" cy="49213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7" name="Rectangle 16">
                  <a:extLst>
                    <a:ext uri="{FF2B5EF4-FFF2-40B4-BE49-F238E27FC236}">
                      <a16:creationId xmlns:a16="http://schemas.microsoft.com/office/drawing/2014/main" id="{389052EF-3A92-42FF-A8F5-AE5C61CDE12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5272088"/>
                  <a:ext cx="49213" cy="46038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8" name="Freeform 240">
                  <a:extLst>
                    <a:ext uri="{FF2B5EF4-FFF2-40B4-BE49-F238E27FC236}">
                      <a16:creationId xmlns:a16="http://schemas.microsoft.com/office/drawing/2014/main" id="{2C35CD08-6BC0-4B8B-B687-87817D9AA06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881938" y="2409826"/>
                  <a:ext cx="1373188" cy="1693863"/>
                </a:xfrm>
                <a:custGeom>
                  <a:avLst/>
                  <a:gdLst>
                    <a:gd name="T0" fmla="*/ 434 w 865"/>
                    <a:gd name="T1" fmla="*/ 0 h 1067"/>
                    <a:gd name="T2" fmla="*/ 389 w 865"/>
                    <a:gd name="T3" fmla="*/ 2 h 1067"/>
                    <a:gd name="T4" fmla="*/ 304 w 865"/>
                    <a:gd name="T5" fmla="*/ 19 h 1067"/>
                    <a:gd name="T6" fmla="*/ 226 w 865"/>
                    <a:gd name="T7" fmla="*/ 52 h 1067"/>
                    <a:gd name="T8" fmla="*/ 157 w 865"/>
                    <a:gd name="T9" fmla="*/ 98 h 1067"/>
                    <a:gd name="T10" fmla="*/ 98 w 865"/>
                    <a:gd name="T11" fmla="*/ 158 h 1067"/>
                    <a:gd name="T12" fmla="*/ 52 w 865"/>
                    <a:gd name="T13" fmla="*/ 226 h 1067"/>
                    <a:gd name="T14" fmla="*/ 20 w 865"/>
                    <a:gd name="T15" fmla="*/ 304 h 1067"/>
                    <a:gd name="T16" fmla="*/ 2 w 865"/>
                    <a:gd name="T17" fmla="*/ 387 h 1067"/>
                    <a:gd name="T18" fmla="*/ 0 w 865"/>
                    <a:gd name="T19" fmla="*/ 432 h 1067"/>
                    <a:gd name="T20" fmla="*/ 0 w 865"/>
                    <a:gd name="T21" fmla="*/ 456 h 1067"/>
                    <a:gd name="T22" fmla="*/ 6 w 865"/>
                    <a:gd name="T23" fmla="*/ 502 h 1067"/>
                    <a:gd name="T24" fmla="*/ 15 w 865"/>
                    <a:gd name="T25" fmla="*/ 547 h 1067"/>
                    <a:gd name="T26" fmla="*/ 30 w 865"/>
                    <a:gd name="T27" fmla="*/ 589 h 1067"/>
                    <a:gd name="T28" fmla="*/ 48 w 865"/>
                    <a:gd name="T29" fmla="*/ 630 h 1067"/>
                    <a:gd name="T30" fmla="*/ 70 w 865"/>
                    <a:gd name="T31" fmla="*/ 669 h 1067"/>
                    <a:gd name="T32" fmla="*/ 96 w 865"/>
                    <a:gd name="T33" fmla="*/ 704 h 1067"/>
                    <a:gd name="T34" fmla="*/ 141 w 865"/>
                    <a:gd name="T35" fmla="*/ 752 h 1067"/>
                    <a:gd name="T36" fmla="*/ 154 w 865"/>
                    <a:gd name="T37" fmla="*/ 763 h 1067"/>
                    <a:gd name="T38" fmla="*/ 178 w 865"/>
                    <a:gd name="T39" fmla="*/ 787 h 1067"/>
                    <a:gd name="T40" fmla="*/ 219 w 865"/>
                    <a:gd name="T41" fmla="*/ 843 h 1067"/>
                    <a:gd name="T42" fmla="*/ 246 w 865"/>
                    <a:gd name="T43" fmla="*/ 906 h 1067"/>
                    <a:gd name="T44" fmla="*/ 261 w 865"/>
                    <a:gd name="T45" fmla="*/ 975 h 1067"/>
                    <a:gd name="T46" fmla="*/ 263 w 865"/>
                    <a:gd name="T47" fmla="*/ 1067 h 1067"/>
                    <a:gd name="T48" fmla="*/ 602 w 865"/>
                    <a:gd name="T49" fmla="*/ 1067 h 1067"/>
                    <a:gd name="T50" fmla="*/ 602 w 865"/>
                    <a:gd name="T51" fmla="*/ 1012 h 1067"/>
                    <a:gd name="T52" fmla="*/ 610 w 865"/>
                    <a:gd name="T53" fmla="*/ 939 h 1067"/>
                    <a:gd name="T54" fmla="*/ 632 w 865"/>
                    <a:gd name="T55" fmla="*/ 873 h 1067"/>
                    <a:gd name="T56" fmla="*/ 667 w 865"/>
                    <a:gd name="T57" fmla="*/ 813 h 1067"/>
                    <a:gd name="T58" fmla="*/ 711 w 865"/>
                    <a:gd name="T59" fmla="*/ 763 h 1067"/>
                    <a:gd name="T60" fmla="*/ 724 w 865"/>
                    <a:gd name="T61" fmla="*/ 752 h 1067"/>
                    <a:gd name="T62" fmla="*/ 756 w 865"/>
                    <a:gd name="T63" fmla="*/ 721 h 1067"/>
                    <a:gd name="T64" fmla="*/ 784 w 865"/>
                    <a:gd name="T65" fmla="*/ 686 h 1067"/>
                    <a:gd name="T66" fmla="*/ 808 w 865"/>
                    <a:gd name="T67" fmla="*/ 648 h 1067"/>
                    <a:gd name="T68" fmla="*/ 828 w 865"/>
                    <a:gd name="T69" fmla="*/ 610 h 1067"/>
                    <a:gd name="T70" fmla="*/ 843 w 865"/>
                    <a:gd name="T71" fmla="*/ 569 h 1067"/>
                    <a:gd name="T72" fmla="*/ 856 w 865"/>
                    <a:gd name="T73" fmla="*/ 524 h 1067"/>
                    <a:gd name="T74" fmla="*/ 863 w 865"/>
                    <a:gd name="T75" fmla="*/ 480 h 1067"/>
                    <a:gd name="T76" fmla="*/ 865 w 865"/>
                    <a:gd name="T77" fmla="*/ 432 h 1067"/>
                    <a:gd name="T78" fmla="*/ 865 w 865"/>
                    <a:gd name="T79" fmla="*/ 409 h 1067"/>
                    <a:gd name="T80" fmla="*/ 856 w 865"/>
                    <a:gd name="T81" fmla="*/ 345 h 1067"/>
                    <a:gd name="T82" fmla="*/ 832 w 865"/>
                    <a:gd name="T83" fmla="*/ 263 h 1067"/>
                    <a:gd name="T84" fmla="*/ 791 w 865"/>
                    <a:gd name="T85" fmla="*/ 191 h 1067"/>
                    <a:gd name="T86" fmla="*/ 739 w 865"/>
                    <a:gd name="T87" fmla="*/ 126 h 1067"/>
                    <a:gd name="T88" fmla="*/ 674 w 865"/>
                    <a:gd name="T89" fmla="*/ 74 h 1067"/>
                    <a:gd name="T90" fmla="*/ 600 w 865"/>
                    <a:gd name="T91" fmla="*/ 33 h 1067"/>
                    <a:gd name="T92" fmla="*/ 521 w 865"/>
                    <a:gd name="T93" fmla="*/ 7 h 1067"/>
                    <a:gd name="T94" fmla="*/ 456 w 865"/>
                    <a:gd name="T95" fmla="*/ 0 h 1067"/>
                    <a:gd name="T96" fmla="*/ 434 w 865"/>
                    <a:gd name="T97" fmla="*/ 0 h 10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865" h="1067">
                      <a:moveTo>
                        <a:pt x="434" y="0"/>
                      </a:moveTo>
                      <a:lnTo>
                        <a:pt x="434" y="0"/>
                      </a:lnTo>
                      <a:lnTo>
                        <a:pt x="411" y="0"/>
                      </a:lnTo>
                      <a:lnTo>
                        <a:pt x="389" y="2"/>
                      </a:lnTo>
                      <a:lnTo>
                        <a:pt x="345" y="7"/>
                      </a:lnTo>
                      <a:lnTo>
                        <a:pt x="304" y="19"/>
                      </a:lnTo>
                      <a:lnTo>
                        <a:pt x="265" y="33"/>
                      </a:lnTo>
                      <a:lnTo>
                        <a:pt x="226" y="52"/>
                      </a:lnTo>
                      <a:lnTo>
                        <a:pt x="191" y="74"/>
                      </a:lnTo>
                      <a:lnTo>
                        <a:pt x="157" y="98"/>
                      </a:lnTo>
                      <a:lnTo>
                        <a:pt x="126" y="126"/>
                      </a:lnTo>
                      <a:lnTo>
                        <a:pt x="98" y="158"/>
                      </a:lnTo>
                      <a:lnTo>
                        <a:pt x="74" y="191"/>
                      </a:lnTo>
                      <a:lnTo>
                        <a:pt x="52" y="226"/>
                      </a:lnTo>
                      <a:lnTo>
                        <a:pt x="33" y="263"/>
                      </a:lnTo>
                      <a:lnTo>
                        <a:pt x="20" y="304"/>
                      </a:lnTo>
                      <a:lnTo>
                        <a:pt x="9" y="345"/>
                      </a:lnTo>
                      <a:lnTo>
                        <a:pt x="2" y="387"/>
                      </a:lnTo>
                      <a:lnTo>
                        <a:pt x="0" y="409"/>
                      </a:lnTo>
                      <a:lnTo>
                        <a:pt x="0" y="432"/>
                      </a:lnTo>
                      <a:lnTo>
                        <a:pt x="0" y="432"/>
                      </a:lnTo>
                      <a:lnTo>
                        <a:pt x="0" y="456"/>
                      </a:lnTo>
                      <a:lnTo>
                        <a:pt x="2" y="480"/>
                      </a:lnTo>
                      <a:lnTo>
                        <a:pt x="6" y="502"/>
                      </a:lnTo>
                      <a:lnTo>
                        <a:pt x="9" y="524"/>
                      </a:lnTo>
                      <a:lnTo>
                        <a:pt x="15" y="547"/>
                      </a:lnTo>
                      <a:lnTo>
                        <a:pt x="22" y="569"/>
                      </a:lnTo>
                      <a:lnTo>
                        <a:pt x="30" y="589"/>
                      </a:lnTo>
                      <a:lnTo>
                        <a:pt x="39" y="610"/>
                      </a:lnTo>
                      <a:lnTo>
                        <a:pt x="48" y="630"/>
                      </a:lnTo>
                      <a:lnTo>
                        <a:pt x="59" y="648"/>
                      </a:lnTo>
                      <a:lnTo>
                        <a:pt x="70" y="669"/>
                      </a:lnTo>
                      <a:lnTo>
                        <a:pt x="83" y="686"/>
                      </a:lnTo>
                      <a:lnTo>
                        <a:pt x="96" y="704"/>
                      </a:lnTo>
                      <a:lnTo>
                        <a:pt x="109" y="721"/>
                      </a:lnTo>
                      <a:lnTo>
                        <a:pt x="141" y="752"/>
                      </a:lnTo>
                      <a:lnTo>
                        <a:pt x="141" y="752"/>
                      </a:lnTo>
                      <a:lnTo>
                        <a:pt x="154" y="763"/>
                      </a:lnTo>
                      <a:lnTo>
                        <a:pt x="154" y="763"/>
                      </a:lnTo>
                      <a:lnTo>
                        <a:pt x="178" y="787"/>
                      </a:lnTo>
                      <a:lnTo>
                        <a:pt x="200" y="813"/>
                      </a:lnTo>
                      <a:lnTo>
                        <a:pt x="219" y="843"/>
                      </a:lnTo>
                      <a:lnTo>
                        <a:pt x="233" y="873"/>
                      </a:lnTo>
                      <a:lnTo>
                        <a:pt x="246" y="906"/>
                      </a:lnTo>
                      <a:lnTo>
                        <a:pt x="256" y="939"/>
                      </a:lnTo>
                      <a:lnTo>
                        <a:pt x="261" y="975"/>
                      </a:lnTo>
                      <a:lnTo>
                        <a:pt x="263" y="1012"/>
                      </a:lnTo>
                      <a:lnTo>
                        <a:pt x="263" y="1067"/>
                      </a:lnTo>
                      <a:lnTo>
                        <a:pt x="434" y="1067"/>
                      </a:lnTo>
                      <a:lnTo>
                        <a:pt x="602" y="1067"/>
                      </a:lnTo>
                      <a:lnTo>
                        <a:pt x="602" y="1012"/>
                      </a:lnTo>
                      <a:lnTo>
                        <a:pt x="602" y="1012"/>
                      </a:lnTo>
                      <a:lnTo>
                        <a:pt x="604" y="975"/>
                      </a:lnTo>
                      <a:lnTo>
                        <a:pt x="610" y="939"/>
                      </a:lnTo>
                      <a:lnTo>
                        <a:pt x="619" y="906"/>
                      </a:lnTo>
                      <a:lnTo>
                        <a:pt x="632" y="873"/>
                      </a:lnTo>
                      <a:lnTo>
                        <a:pt x="647" y="843"/>
                      </a:lnTo>
                      <a:lnTo>
                        <a:pt x="667" y="813"/>
                      </a:lnTo>
                      <a:lnTo>
                        <a:pt x="687" y="787"/>
                      </a:lnTo>
                      <a:lnTo>
                        <a:pt x="711" y="763"/>
                      </a:lnTo>
                      <a:lnTo>
                        <a:pt x="711" y="763"/>
                      </a:lnTo>
                      <a:lnTo>
                        <a:pt x="724" y="752"/>
                      </a:lnTo>
                      <a:lnTo>
                        <a:pt x="724" y="752"/>
                      </a:lnTo>
                      <a:lnTo>
                        <a:pt x="756" y="721"/>
                      </a:lnTo>
                      <a:lnTo>
                        <a:pt x="769" y="704"/>
                      </a:lnTo>
                      <a:lnTo>
                        <a:pt x="784" y="686"/>
                      </a:lnTo>
                      <a:lnTo>
                        <a:pt x="795" y="669"/>
                      </a:lnTo>
                      <a:lnTo>
                        <a:pt x="808" y="648"/>
                      </a:lnTo>
                      <a:lnTo>
                        <a:pt x="817" y="630"/>
                      </a:lnTo>
                      <a:lnTo>
                        <a:pt x="828" y="610"/>
                      </a:lnTo>
                      <a:lnTo>
                        <a:pt x="836" y="589"/>
                      </a:lnTo>
                      <a:lnTo>
                        <a:pt x="843" y="569"/>
                      </a:lnTo>
                      <a:lnTo>
                        <a:pt x="850" y="547"/>
                      </a:lnTo>
                      <a:lnTo>
                        <a:pt x="856" y="524"/>
                      </a:lnTo>
                      <a:lnTo>
                        <a:pt x="860" y="502"/>
                      </a:lnTo>
                      <a:lnTo>
                        <a:pt x="863" y="480"/>
                      </a:lnTo>
                      <a:lnTo>
                        <a:pt x="865" y="456"/>
                      </a:lnTo>
                      <a:lnTo>
                        <a:pt x="865" y="432"/>
                      </a:lnTo>
                      <a:lnTo>
                        <a:pt x="865" y="432"/>
                      </a:lnTo>
                      <a:lnTo>
                        <a:pt x="865" y="409"/>
                      </a:lnTo>
                      <a:lnTo>
                        <a:pt x="863" y="387"/>
                      </a:lnTo>
                      <a:lnTo>
                        <a:pt x="856" y="345"/>
                      </a:lnTo>
                      <a:lnTo>
                        <a:pt x="847" y="304"/>
                      </a:lnTo>
                      <a:lnTo>
                        <a:pt x="832" y="263"/>
                      </a:lnTo>
                      <a:lnTo>
                        <a:pt x="813" y="226"/>
                      </a:lnTo>
                      <a:lnTo>
                        <a:pt x="791" y="191"/>
                      </a:lnTo>
                      <a:lnTo>
                        <a:pt x="767" y="158"/>
                      </a:lnTo>
                      <a:lnTo>
                        <a:pt x="739" y="126"/>
                      </a:lnTo>
                      <a:lnTo>
                        <a:pt x="708" y="98"/>
                      </a:lnTo>
                      <a:lnTo>
                        <a:pt x="674" y="74"/>
                      </a:lnTo>
                      <a:lnTo>
                        <a:pt x="639" y="52"/>
                      </a:lnTo>
                      <a:lnTo>
                        <a:pt x="600" y="33"/>
                      </a:lnTo>
                      <a:lnTo>
                        <a:pt x="561" y="19"/>
                      </a:lnTo>
                      <a:lnTo>
                        <a:pt x="521" y="7"/>
                      </a:lnTo>
                      <a:lnTo>
                        <a:pt x="476" y="2"/>
                      </a:lnTo>
                      <a:lnTo>
                        <a:pt x="456" y="0"/>
                      </a:lnTo>
                      <a:lnTo>
                        <a:pt x="434" y="0"/>
                      </a:lnTo>
                      <a:lnTo>
                        <a:pt x="434" y="0"/>
                      </a:lnTo>
                      <a:close/>
                    </a:path>
                  </a:pathLst>
                </a:custGeom>
                <a:solidFill>
                  <a:srgbClr val="FDD300"/>
                </a:solidFill>
                <a:ln w="222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9" name="Freeform 241">
                  <a:extLst>
                    <a:ext uri="{FF2B5EF4-FFF2-40B4-BE49-F238E27FC236}">
                      <a16:creationId xmlns:a16="http://schemas.microsoft.com/office/drawing/2014/main" id="{48363F46-C1B1-4332-8335-A2F8F0FAF7A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275638" y="4079876"/>
                  <a:ext cx="585788" cy="333375"/>
                </a:xfrm>
                <a:custGeom>
                  <a:avLst/>
                  <a:gdLst>
                    <a:gd name="T0" fmla="*/ 369 w 369"/>
                    <a:gd name="T1" fmla="*/ 210 h 210"/>
                    <a:gd name="T2" fmla="*/ 0 w 369"/>
                    <a:gd name="T3" fmla="*/ 210 h 210"/>
                    <a:gd name="T4" fmla="*/ 0 w 369"/>
                    <a:gd name="T5" fmla="*/ 0 h 210"/>
                    <a:gd name="T6" fmla="*/ 369 w 369"/>
                    <a:gd name="T7" fmla="*/ 0 h 210"/>
                    <a:gd name="T8" fmla="*/ 369 w 369"/>
                    <a:gd name="T9" fmla="*/ 210 h 210"/>
                    <a:gd name="T10" fmla="*/ 30 w 369"/>
                    <a:gd name="T11" fmla="*/ 180 h 210"/>
                    <a:gd name="T12" fmla="*/ 339 w 369"/>
                    <a:gd name="T13" fmla="*/ 180 h 210"/>
                    <a:gd name="T14" fmla="*/ 339 w 369"/>
                    <a:gd name="T15" fmla="*/ 32 h 210"/>
                    <a:gd name="T16" fmla="*/ 30 w 369"/>
                    <a:gd name="T17" fmla="*/ 32 h 210"/>
                    <a:gd name="T18" fmla="*/ 30 w 369"/>
                    <a:gd name="T19" fmla="*/ 180 h 2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69" h="210">
                      <a:moveTo>
                        <a:pt x="369" y="210"/>
                      </a:moveTo>
                      <a:lnTo>
                        <a:pt x="0" y="210"/>
                      </a:lnTo>
                      <a:lnTo>
                        <a:pt x="0" y="0"/>
                      </a:lnTo>
                      <a:lnTo>
                        <a:pt x="369" y="0"/>
                      </a:lnTo>
                      <a:lnTo>
                        <a:pt x="369" y="210"/>
                      </a:lnTo>
                      <a:close/>
                      <a:moveTo>
                        <a:pt x="30" y="180"/>
                      </a:moveTo>
                      <a:lnTo>
                        <a:pt x="339" y="180"/>
                      </a:lnTo>
                      <a:lnTo>
                        <a:pt x="339" y="32"/>
                      </a:lnTo>
                      <a:lnTo>
                        <a:pt x="30" y="32"/>
                      </a:lnTo>
                      <a:lnTo>
                        <a:pt x="30" y="18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20" name="Rectangle 19">
                  <a:extLst>
                    <a:ext uri="{FF2B5EF4-FFF2-40B4-BE49-F238E27FC236}">
                      <a16:creationId xmlns:a16="http://schemas.microsoft.com/office/drawing/2014/main" id="{44F504D5-7A7E-4ACC-BCF5-A92044FCFA7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250238" y="4079876"/>
                  <a:ext cx="638175" cy="50800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21" name="Rectangle 20">
                  <a:extLst>
                    <a:ext uri="{FF2B5EF4-FFF2-40B4-BE49-F238E27FC236}">
                      <a16:creationId xmlns:a16="http://schemas.microsoft.com/office/drawing/2014/main" id="{C1CBD50D-402F-4749-99F6-343DEE0C6B5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250238" y="4175126"/>
                  <a:ext cx="638175" cy="49213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22" name="Rectangle 21">
                  <a:extLst>
                    <a:ext uri="{FF2B5EF4-FFF2-40B4-BE49-F238E27FC236}">
                      <a16:creationId xmlns:a16="http://schemas.microsoft.com/office/drawing/2014/main" id="{AF44BB8C-3666-440F-AA8D-1F244442274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250238" y="4271963"/>
                  <a:ext cx="638175" cy="46038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23" name="Rectangle 22">
                  <a:extLst>
                    <a:ext uri="{FF2B5EF4-FFF2-40B4-BE49-F238E27FC236}">
                      <a16:creationId xmlns:a16="http://schemas.microsoft.com/office/drawing/2014/main" id="{E9F10FF6-3852-4486-BFA3-65DD08A32BF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250238" y="4365626"/>
                  <a:ext cx="638175" cy="47625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24" name="Freeform 246">
                  <a:extLst>
                    <a:ext uri="{FF2B5EF4-FFF2-40B4-BE49-F238E27FC236}">
                      <a16:creationId xmlns:a16="http://schemas.microsoft.com/office/drawing/2014/main" id="{FA179A60-74EB-4200-9514-9AD1B05F8A6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443913" y="4365626"/>
                  <a:ext cx="249238" cy="155575"/>
                </a:xfrm>
                <a:custGeom>
                  <a:avLst/>
                  <a:gdLst>
                    <a:gd name="T0" fmla="*/ 157 w 157"/>
                    <a:gd name="T1" fmla="*/ 98 h 98"/>
                    <a:gd name="T2" fmla="*/ 0 w 157"/>
                    <a:gd name="T3" fmla="*/ 98 h 98"/>
                    <a:gd name="T4" fmla="*/ 0 w 157"/>
                    <a:gd name="T5" fmla="*/ 0 h 98"/>
                    <a:gd name="T6" fmla="*/ 157 w 157"/>
                    <a:gd name="T7" fmla="*/ 0 h 98"/>
                    <a:gd name="T8" fmla="*/ 157 w 157"/>
                    <a:gd name="T9" fmla="*/ 98 h 98"/>
                    <a:gd name="T10" fmla="*/ 30 w 157"/>
                    <a:gd name="T11" fmla="*/ 69 h 98"/>
                    <a:gd name="T12" fmla="*/ 128 w 157"/>
                    <a:gd name="T13" fmla="*/ 69 h 98"/>
                    <a:gd name="T14" fmla="*/ 128 w 157"/>
                    <a:gd name="T15" fmla="*/ 30 h 98"/>
                    <a:gd name="T16" fmla="*/ 30 w 157"/>
                    <a:gd name="T17" fmla="*/ 30 h 98"/>
                    <a:gd name="T18" fmla="*/ 30 w 157"/>
                    <a:gd name="T19" fmla="*/ 69 h 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57" h="98">
                      <a:moveTo>
                        <a:pt x="157" y="98"/>
                      </a:moveTo>
                      <a:lnTo>
                        <a:pt x="0" y="98"/>
                      </a:lnTo>
                      <a:lnTo>
                        <a:pt x="0" y="0"/>
                      </a:lnTo>
                      <a:lnTo>
                        <a:pt x="157" y="0"/>
                      </a:lnTo>
                      <a:lnTo>
                        <a:pt x="157" y="98"/>
                      </a:lnTo>
                      <a:close/>
                      <a:moveTo>
                        <a:pt x="30" y="69"/>
                      </a:moveTo>
                      <a:lnTo>
                        <a:pt x="128" y="69"/>
                      </a:lnTo>
                      <a:lnTo>
                        <a:pt x="128" y="30"/>
                      </a:lnTo>
                      <a:lnTo>
                        <a:pt x="30" y="30"/>
                      </a:lnTo>
                      <a:lnTo>
                        <a:pt x="30" y="69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25" name="Rectangle 24">
                  <a:extLst>
                    <a:ext uri="{FF2B5EF4-FFF2-40B4-BE49-F238E27FC236}">
                      <a16:creationId xmlns:a16="http://schemas.microsoft.com/office/drawing/2014/main" id="{A955F91C-F774-4BF6-AEB1-17203468239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3471863"/>
                  <a:ext cx="49213" cy="631825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26" name="Freeform 248">
                  <a:extLst>
                    <a:ext uri="{FF2B5EF4-FFF2-40B4-BE49-F238E27FC236}">
                      <a16:creationId xmlns:a16="http://schemas.microsoft.com/office/drawing/2014/main" id="{20BA89EC-750D-4B3D-8770-1E27FD8E862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375651" y="2968626"/>
                  <a:ext cx="385763" cy="255588"/>
                </a:xfrm>
                <a:custGeom>
                  <a:avLst/>
                  <a:gdLst>
                    <a:gd name="T0" fmla="*/ 145 w 243"/>
                    <a:gd name="T1" fmla="*/ 161 h 161"/>
                    <a:gd name="T2" fmla="*/ 98 w 243"/>
                    <a:gd name="T3" fmla="*/ 69 h 161"/>
                    <a:gd name="T4" fmla="*/ 85 w 243"/>
                    <a:gd name="T5" fmla="*/ 95 h 161"/>
                    <a:gd name="T6" fmla="*/ 0 w 243"/>
                    <a:gd name="T7" fmla="*/ 95 h 161"/>
                    <a:gd name="T8" fmla="*/ 0 w 243"/>
                    <a:gd name="T9" fmla="*/ 65 h 161"/>
                    <a:gd name="T10" fmla="*/ 65 w 243"/>
                    <a:gd name="T11" fmla="*/ 65 h 161"/>
                    <a:gd name="T12" fmla="*/ 98 w 243"/>
                    <a:gd name="T13" fmla="*/ 0 h 161"/>
                    <a:gd name="T14" fmla="*/ 145 w 243"/>
                    <a:gd name="T15" fmla="*/ 93 h 161"/>
                    <a:gd name="T16" fmla="*/ 160 w 243"/>
                    <a:gd name="T17" fmla="*/ 65 h 161"/>
                    <a:gd name="T18" fmla="*/ 243 w 243"/>
                    <a:gd name="T19" fmla="*/ 65 h 161"/>
                    <a:gd name="T20" fmla="*/ 243 w 243"/>
                    <a:gd name="T21" fmla="*/ 95 h 161"/>
                    <a:gd name="T22" fmla="*/ 178 w 243"/>
                    <a:gd name="T23" fmla="*/ 95 h 161"/>
                    <a:gd name="T24" fmla="*/ 145 w 243"/>
                    <a:gd name="T25" fmla="*/ 161 h 1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43" h="161">
                      <a:moveTo>
                        <a:pt x="145" y="161"/>
                      </a:moveTo>
                      <a:lnTo>
                        <a:pt x="98" y="69"/>
                      </a:lnTo>
                      <a:lnTo>
                        <a:pt x="85" y="95"/>
                      </a:lnTo>
                      <a:lnTo>
                        <a:pt x="0" y="95"/>
                      </a:lnTo>
                      <a:lnTo>
                        <a:pt x="0" y="65"/>
                      </a:lnTo>
                      <a:lnTo>
                        <a:pt x="65" y="65"/>
                      </a:lnTo>
                      <a:lnTo>
                        <a:pt x="98" y="0"/>
                      </a:lnTo>
                      <a:lnTo>
                        <a:pt x="145" y="93"/>
                      </a:lnTo>
                      <a:lnTo>
                        <a:pt x="160" y="65"/>
                      </a:lnTo>
                      <a:lnTo>
                        <a:pt x="243" y="65"/>
                      </a:lnTo>
                      <a:lnTo>
                        <a:pt x="243" y="95"/>
                      </a:lnTo>
                      <a:lnTo>
                        <a:pt x="178" y="95"/>
                      </a:lnTo>
                      <a:lnTo>
                        <a:pt x="145" y="161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27" name="Freeform 249">
                  <a:extLst>
                    <a:ext uri="{FF2B5EF4-FFF2-40B4-BE49-F238E27FC236}">
                      <a16:creationId xmlns:a16="http://schemas.microsoft.com/office/drawing/2014/main" id="{AD70F6AF-71A7-4E8D-89D2-5EB9A9290F3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334376" y="3121026"/>
                  <a:ext cx="468313" cy="395288"/>
                </a:xfrm>
                <a:custGeom>
                  <a:avLst/>
                  <a:gdLst>
                    <a:gd name="T0" fmla="*/ 149 w 295"/>
                    <a:gd name="T1" fmla="*/ 249 h 249"/>
                    <a:gd name="T2" fmla="*/ 0 w 295"/>
                    <a:gd name="T3" fmla="*/ 17 h 249"/>
                    <a:gd name="T4" fmla="*/ 26 w 295"/>
                    <a:gd name="T5" fmla="*/ 0 h 249"/>
                    <a:gd name="T6" fmla="*/ 149 w 295"/>
                    <a:gd name="T7" fmla="*/ 193 h 249"/>
                    <a:gd name="T8" fmla="*/ 269 w 295"/>
                    <a:gd name="T9" fmla="*/ 0 h 249"/>
                    <a:gd name="T10" fmla="*/ 295 w 295"/>
                    <a:gd name="T11" fmla="*/ 17 h 249"/>
                    <a:gd name="T12" fmla="*/ 149 w 295"/>
                    <a:gd name="T13" fmla="*/ 249 h 2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95" h="249">
                      <a:moveTo>
                        <a:pt x="149" y="249"/>
                      </a:moveTo>
                      <a:lnTo>
                        <a:pt x="0" y="17"/>
                      </a:lnTo>
                      <a:lnTo>
                        <a:pt x="26" y="0"/>
                      </a:lnTo>
                      <a:lnTo>
                        <a:pt x="149" y="193"/>
                      </a:lnTo>
                      <a:lnTo>
                        <a:pt x="269" y="0"/>
                      </a:lnTo>
                      <a:lnTo>
                        <a:pt x="295" y="17"/>
                      </a:lnTo>
                      <a:lnTo>
                        <a:pt x="149" y="249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28" name="Freeform 250">
                  <a:extLst>
                    <a:ext uri="{FF2B5EF4-FFF2-40B4-BE49-F238E27FC236}">
                      <a16:creationId xmlns:a16="http://schemas.microsoft.com/office/drawing/2014/main" id="{C73B7F44-808D-4D7E-B6A4-2F8A7035192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255001" y="3024188"/>
                  <a:ext cx="144463" cy="144463"/>
                </a:xfrm>
                <a:custGeom>
                  <a:avLst/>
                  <a:gdLst>
                    <a:gd name="T0" fmla="*/ 47 w 91"/>
                    <a:gd name="T1" fmla="*/ 91 h 91"/>
                    <a:gd name="T2" fmla="*/ 47 w 91"/>
                    <a:gd name="T3" fmla="*/ 91 h 91"/>
                    <a:gd name="T4" fmla="*/ 37 w 91"/>
                    <a:gd name="T5" fmla="*/ 89 h 91"/>
                    <a:gd name="T6" fmla="*/ 28 w 91"/>
                    <a:gd name="T7" fmla="*/ 87 h 91"/>
                    <a:gd name="T8" fmla="*/ 21 w 91"/>
                    <a:gd name="T9" fmla="*/ 84 h 91"/>
                    <a:gd name="T10" fmla="*/ 13 w 91"/>
                    <a:gd name="T11" fmla="*/ 78 h 91"/>
                    <a:gd name="T12" fmla="*/ 8 w 91"/>
                    <a:gd name="T13" fmla="*/ 71 h 91"/>
                    <a:gd name="T14" fmla="*/ 4 w 91"/>
                    <a:gd name="T15" fmla="*/ 63 h 91"/>
                    <a:gd name="T16" fmla="*/ 2 w 91"/>
                    <a:gd name="T17" fmla="*/ 54 h 91"/>
                    <a:gd name="T18" fmla="*/ 0 w 91"/>
                    <a:gd name="T19" fmla="*/ 45 h 91"/>
                    <a:gd name="T20" fmla="*/ 0 w 91"/>
                    <a:gd name="T21" fmla="*/ 45 h 91"/>
                    <a:gd name="T22" fmla="*/ 2 w 91"/>
                    <a:gd name="T23" fmla="*/ 35 h 91"/>
                    <a:gd name="T24" fmla="*/ 4 w 91"/>
                    <a:gd name="T25" fmla="*/ 28 h 91"/>
                    <a:gd name="T26" fmla="*/ 8 w 91"/>
                    <a:gd name="T27" fmla="*/ 21 h 91"/>
                    <a:gd name="T28" fmla="*/ 13 w 91"/>
                    <a:gd name="T29" fmla="*/ 13 h 91"/>
                    <a:gd name="T30" fmla="*/ 21 w 91"/>
                    <a:gd name="T31" fmla="*/ 8 h 91"/>
                    <a:gd name="T32" fmla="*/ 28 w 91"/>
                    <a:gd name="T33" fmla="*/ 4 h 91"/>
                    <a:gd name="T34" fmla="*/ 37 w 91"/>
                    <a:gd name="T35" fmla="*/ 0 h 91"/>
                    <a:gd name="T36" fmla="*/ 47 w 91"/>
                    <a:gd name="T37" fmla="*/ 0 h 91"/>
                    <a:gd name="T38" fmla="*/ 47 w 91"/>
                    <a:gd name="T39" fmla="*/ 0 h 91"/>
                    <a:gd name="T40" fmla="*/ 56 w 91"/>
                    <a:gd name="T41" fmla="*/ 0 h 91"/>
                    <a:gd name="T42" fmla="*/ 63 w 91"/>
                    <a:gd name="T43" fmla="*/ 4 h 91"/>
                    <a:gd name="T44" fmla="*/ 73 w 91"/>
                    <a:gd name="T45" fmla="*/ 8 h 91"/>
                    <a:gd name="T46" fmla="*/ 78 w 91"/>
                    <a:gd name="T47" fmla="*/ 13 h 91"/>
                    <a:gd name="T48" fmla="*/ 84 w 91"/>
                    <a:gd name="T49" fmla="*/ 21 h 91"/>
                    <a:gd name="T50" fmla="*/ 87 w 91"/>
                    <a:gd name="T51" fmla="*/ 28 h 91"/>
                    <a:gd name="T52" fmla="*/ 91 w 91"/>
                    <a:gd name="T53" fmla="*/ 35 h 91"/>
                    <a:gd name="T54" fmla="*/ 91 w 91"/>
                    <a:gd name="T55" fmla="*/ 45 h 91"/>
                    <a:gd name="T56" fmla="*/ 91 w 91"/>
                    <a:gd name="T57" fmla="*/ 45 h 91"/>
                    <a:gd name="T58" fmla="*/ 91 w 91"/>
                    <a:gd name="T59" fmla="*/ 54 h 91"/>
                    <a:gd name="T60" fmla="*/ 87 w 91"/>
                    <a:gd name="T61" fmla="*/ 63 h 91"/>
                    <a:gd name="T62" fmla="*/ 84 w 91"/>
                    <a:gd name="T63" fmla="*/ 71 h 91"/>
                    <a:gd name="T64" fmla="*/ 78 w 91"/>
                    <a:gd name="T65" fmla="*/ 78 h 91"/>
                    <a:gd name="T66" fmla="*/ 73 w 91"/>
                    <a:gd name="T67" fmla="*/ 84 h 91"/>
                    <a:gd name="T68" fmla="*/ 63 w 91"/>
                    <a:gd name="T69" fmla="*/ 87 h 91"/>
                    <a:gd name="T70" fmla="*/ 56 w 91"/>
                    <a:gd name="T71" fmla="*/ 89 h 91"/>
                    <a:gd name="T72" fmla="*/ 47 w 91"/>
                    <a:gd name="T73" fmla="*/ 91 h 91"/>
                    <a:gd name="T74" fmla="*/ 47 w 91"/>
                    <a:gd name="T75" fmla="*/ 91 h 91"/>
                    <a:gd name="T76" fmla="*/ 47 w 91"/>
                    <a:gd name="T77" fmla="*/ 30 h 91"/>
                    <a:gd name="T78" fmla="*/ 47 w 91"/>
                    <a:gd name="T79" fmla="*/ 30 h 91"/>
                    <a:gd name="T80" fmla="*/ 41 w 91"/>
                    <a:gd name="T81" fmla="*/ 32 h 91"/>
                    <a:gd name="T82" fmla="*/ 35 w 91"/>
                    <a:gd name="T83" fmla="*/ 35 h 91"/>
                    <a:gd name="T84" fmla="*/ 32 w 91"/>
                    <a:gd name="T85" fmla="*/ 39 h 91"/>
                    <a:gd name="T86" fmla="*/ 32 w 91"/>
                    <a:gd name="T87" fmla="*/ 45 h 91"/>
                    <a:gd name="T88" fmla="*/ 32 w 91"/>
                    <a:gd name="T89" fmla="*/ 45 h 91"/>
                    <a:gd name="T90" fmla="*/ 32 w 91"/>
                    <a:gd name="T91" fmla="*/ 50 h 91"/>
                    <a:gd name="T92" fmla="*/ 35 w 91"/>
                    <a:gd name="T93" fmla="*/ 56 h 91"/>
                    <a:gd name="T94" fmla="*/ 41 w 91"/>
                    <a:gd name="T95" fmla="*/ 60 h 91"/>
                    <a:gd name="T96" fmla="*/ 47 w 91"/>
                    <a:gd name="T97" fmla="*/ 60 h 91"/>
                    <a:gd name="T98" fmla="*/ 47 w 91"/>
                    <a:gd name="T99" fmla="*/ 60 h 91"/>
                    <a:gd name="T100" fmla="*/ 52 w 91"/>
                    <a:gd name="T101" fmla="*/ 60 h 91"/>
                    <a:gd name="T102" fmla="*/ 58 w 91"/>
                    <a:gd name="T103" fmla="*/ 56 h 91"/>
                    <a:gd name="T104" fmla="*/ 60 w 91"/>
                    <a:gd name="T105" fmla="*/ 50 h 91"/>
                    <a:gd name="T106" fmla="*/ 61 w 91"/>
                    <a:gd name="T107" fmla="*/ 45 h 91"/>
                    <a:gd name="T108" fmla="*/ 61 w 91"/>
                    <a:gd name="T109" fmla="*/ 45 h 91"/>
                    <a:gd name="T110" fmla="*/ 60 w 91"/>
                    <a:gd name="T111" fmla="*/ 39 h 91"/>
                    <a:gd name="T112" fmla="*/ 58 w 91"/>
                    <a:gd name="T113" fmla="*/ 35 h 91"/>
                    <a:gd name="T114" fmla="*/ 52 w 91"/>
                    <a:gd name="T115" fmla="*/ 32 h 91"/>
                    <a:gd name="T116" fmla="*/ 47 w 91"/>
                    <a:gd name="T117" fmla="*/ 30 h 91"/>
                    <a:gd name="T118" fmla="*/ 47 w 91"/>
                    <a:gd name="T119" fmla="*/ 30 h 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91" h="91">
                      <a:moveTo>
                        <a:pt x="47" y="91"/>
                      </a:moveTo>
                      <a:lnTo>
                        <a:pt x="47" y="91"/>
                      </a:lnTo>
                      <a:lnTo>
                        <a:pt x="37" y="89"/>
                      </a:lnTo>
                      <a:lnTo>
                        <a:pt x="28" y="87"/>
                      </a:lnTo>
                      <a:lnTo>
                        <a:pt x="21" y="84"/>
                      </a:lnTo>
                      <a:lnTo>
                        <a:pt x="13" y="78"/>
                      </a:lnTo>
                      <a:lnTo>
                        <a:pt x="8" y="71"/>
                      </a:lnTo>
                      <a:lnTo>
                        <a:pt x="4" y="63"/>
                      </a:lnTo>
                      <a:lnTo>
                        <a:pt x="2" y="54"/>
                      </a:lnTo>
                      <a:lnTo>
                        <a:pt x="0" y="45"/>
                      </a:lnTo>
                      <a:lnTo>
                        <a:pt x="0" y="45"/>
                      </a:lnTo>
                      <a:lnTo>
                        <a:pt x="2" y="35"/>
                      </a:lnTo>
                      <a:lnTo>
                        <a:pt x="4" y="28"/>
                      </a:lnTo>
                      <a:lnTo>
                        <a:pt x="8" y="21"/>
                      </a:lnTo>
                      <a:lnTo>
                        <a:pt x="13" y="13"/>
                      </a:lnTo>
                      <a:lnTo>
                        <a:pt x="21" y="8"/>
                      </a:lnTo>
                      <a:lnTo>
                        <a:pt x="28" y="4"/>
                      </a:lnTo>
                      <a:lnTo>
                        <a:pt x="37" y="0"/>
                      </a:lnTo>
                      <a:lnTo>
                        <a:pt x="47" y="0"/>
                      </a:lnTo>
                      <a:lnTo>
                        <a:pt x="47" y="0"/>
                      </a:lnTo>
                      <a:lnTo>
                        <a:pt x="56" y="0"/>
                      </a:lnTo>
                      <a:lnTo>
                        <a:pt x="63" y="4"/>
                      </a:lnTo>
                      <a:lnTo>
                        <a:pt x="73" y="8"/>
                      </a:lnTo>
                      <a:lnTo>
                        <a:pt x="78" y="13"/>
                      </a:lnTo>
                      <a:lnTo>
                        <a:pt x="84" y="21"/>
                      </a:lnTo>
                      <a:lnTo>
                        <a:pt x="87" y="28"/>
                      </a:lnTo>
                      <a:lnTo>
                        <a:pt x="91" y="35"/>
                      </a:lnTo>
                      <a:lnTo>
                        <a:pt x="91" y="45"/>
                      </a:lnTo>
                      <a:lnTo>
                        <a:pt x="91" y="45"/>
                      </a:lnTo>
                      <a:lnTo>
                        <a:pt x="91" y="54"/>
                      </a:lnTo>
                      <a:lnTo>
                        <a:pt x="87" y="63"/>
                      </a:lnTo>
                      <a:lnTo>
                        <a:pt x="84" y="71"/>
                      </a:lnTo>
                      <a:lnTo>
                        <a:pt x="78" y="78"/>
                      </a:lnTo>
                      <a:lnTo>
                        <a:pt x="73" y="84"/>
                      </a:lnTo>
                      <a:lnTo>
                        <a:pt x="63" y="87"/>
                      </a:lnTo>
                      <a:lnTo>
                        <a:pt x="56" y="89"/>
                      </a:lnTo>
                      <a:lnTo>
                        <a:pt x="47" y="91"/>
                      </a:lnTo>
                      <a:lnTo>
                        <a:pt x="47" y="91"/>
                      </a:lnTo>
                      <a:close/>
                      <a:moveTo>
                        <a:pt x="47" y="30"/>
                      </a:moveTo>
                      <a:lnTo>
                        <a:pt x="47" y="30"/>
                      </a:lnTo>
                      <a:lnTo>
                        <a:pt x="41" y="32"/>
                      </a:lnTo>
                      <a:lnTo>
                        <a:pt x="35" y="35"/>
                      </a:lnTo>
                      <a:lnTo>
                        <a:pt x="32" y="39"/>
                      </a:lnTo>
                      <a:lnTo>
                        <a:pt x="32" y="45"/>
                      </a:lnTo>
                      <a:lnTo>
                        <a:pt x="32" y="45"/>
                      </a:lnTo>
                      <a:lnTo>
                        <a:pt x="32" y="50"/>
                      </a:lnTo>
                      <a:lnTo>
                        <a:pt x="35" y="56"/>
                      </a:lnTo>
                      <a:lnTo>
                        <a:pt x="41" y="60"/>
                      </a:lnTo>
                      <a:lnTo>
                        <a:pt x="47" y="60"/>
                      </a:lnTo>
                      <a:lnTo>
                        <a:pt x="47" y="60"/>
                      </a:lnTo>
                      <a:lnTo>
                        <a:pt x="52" y="60"/>
                      </a:lnTo>
                      <a:lnTo>
                        <a:pt x="58" y="56"/>
                      </a:lnTo>
                      <a:lnTo>
                        <a:pt x="60" y="50"/>
                      </a:lnTo>
                      <a:lnTo>
                        <a:pt x="61" y="45"/>
                      </a:lnTo>
                      <a:lnTo>
                        <a:pt x="61" y="45"/>
                      </a:lnTo>
                      <a:lnTo>
                        <a:pt x="60" y="39"/>
                      </a:lnTo>
                      <a:lnTo>
                        <a:pt x="58" y="35"/>
                      </a:lnTo>
                      <a:lnTo>
                        <a:pt x="52" y="32"/>
                      </a:lnTo>
                      <a:lnTo>
                        <a:pt x="47" y="30"/>
                      </a:lnTo>
                      <a:lnTo>
                        <a:pt x="47" y="3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29" name="Freeform 251">
                  <a:extLst>
                    <a:ext uri="{FF2B5EF4-FFF2-40B4-BE49-F238E27FC236}">
                      <a16:creationId xmlns:a16="http://schemas.microsoft.com/office/drawing/2014/main" id="{8912995F-B8C5-4317-80BC-C331A0BFC16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737601" y="3024188"/>
                  <a:ext cx="144463" cy="144463"/>
                </a:xfrm>
                <a:custGeom>
                  <a:avLst/>
                  <a:gdLst>
                    <a:gd name="T0" fmla="*/ 45 w 91"/>
                    <a:gd name="T1" fmla="*/ 91 h 91"/>
                    <a:gd name="T2" fmla="*/ 45 w 91"/>
                    <a:gd name="T3" fmla="*/ 91 h 91"/>
                    <a:gd name="T4" fmla="*/ 35 w 91"/>
                    <a:gd name="T5" fmla="*/ 89 h 91"/>
                    <a:gd name="T6" fmla="*/ 28 w 91"/>
                    <a:gd name="T7" fmla="*/ 87 h 91"/>
                    <a:gd name="T8" fmla="*/ 21 w 91"/>
                    <a:gd name="T9" fmla="*/ 84 h 91"/>
                    <a:gd name="T10" fmla="*/ 13 w 91"/>
                    <a:gd name="T11" fmla="*/ 78 h 91"/>
                    <a:gd name="T12" fmla="*/ 8 w 91"/>
                    <a:gd name="T13" fmla="*/ 71 h 91"/>
                    <a:gd name="T14" fmla="*/ 4 w 91"/>
                    <a:gd name="T15" fmla="*/ 63 h 91"/>
                    <a:gd name="T16" fmla="*/ 0 w 91"/>
                    <a:gd name="T17" fmla="*/ 54 h 91"/>
                    <a:gd name="T18" fmla="*/ 0 w 91"/>
                    <a:gd name="T19" fmla="*/ 45 h 91"/>
                    <a:gd name="T20" fmla="*/ 0 w 91"/>
                    <a:gd name="T21" fmla="*/ 45 h 91"/>
                    <a:gd name="T22" fmla="*/ 0 w 91"/>
                    <a:gd name="T23" fmla="*/ 35 h 91"/>
                    <a:gd name="T24" fmla="*/ 4 w 91"/>
                    <a:gd name="T25" fmla="*/ 28 h 91"/>
                    <a:gd name="T26" fmla="*/ 8 w 91"/>
                    <a:gd name="T27" fmla="*/ 21 h 91"/>
                    <a:gd name="T28" fmla="*/ 13 w 91"/>
                    <a:gd name="T29" fmla="*/ 13 h 91"/>
                    <a:gd name="T30" fmla="*/ 21 w 91"/>
                    <a:gd name="T31" fmla="*/ 8 h 91"/>
                    <a:gd name="T32" fmla="*/ 28 w 91"/>
                    <a:gd name="T33" fmla="*/ 4 h 91"/>
                    <a:gd name="T34" fmla="*/ 35 w 91"/>
                    <a:gd name="T35" fmla="*/ 0 h 91"/>
                    <a:gd name="T36" fmla="*/ 45 w 91"/>
                    <a:gd name="T37" fmla="*/ 0 h 91"/>
                    <a:gd name="T38" fmla="*/ 45 w 91"/>
                    <a:gd name="T39" fmla="*/ 0 h 91"/>
                    <a:gd name="T40" fmla="*/ 54 w 91"/>
                    <a:gd name="T41" fmla="*/ 0 h 91"/>
                    <a:gd name="T42" fmla="*/ 63 w 91"/>
                    <a:gd name="T43" fmla="*/ 4 h 91"/>
                    <a:gd name="T44" fmla="*/ 71 w 91"/>
                    <a:gd name="T45" fmla="*/ 8 h 91"/>
                    <a:gd name="T46" fmla="*/ 78 w 91"/>
                    <a:gd name="T47" fmla="*/ 13 h 91"/>
                    <a:gd name="T48" fmla="*/ 84 w 91"/>
                    <a:gd name="T49" fmla="*/ 21 h 91"/>
                    <a:gd name="T50" fmla="*/ 87 w 91"/>
                    <a:gd name="T51" fmla="*/ 28 h 91"/>
                    <a:gd name="T52" fmla="*/ 89 w 91"/>
                    <a:gd name="T53" fmla="*/ 35 h 91"/>
                    <a:gd name="T54" fmla="*/ 91 w 91"/>
                    <a:gd name="T55" fmla="*/ 45 h 91"/>
                    <a:gd name="T56" fmla="*/ 91 w 91"/>
                    <a:gd name="T57" fmla="*/ 45 h 91"/>
                    <a:gd name="T58" fmla="*/ 89 w 91"/>
                    <a:gd name="T59" fmla="*/ 54 h 91"/>
                    <a:gd name="T60" fmla="*/ 87 w 91"/>
                    <a:gd name="T61" fmla="*/ 63 h 91"/>
                    <a:gd name="T62" fmla="*/ 84 w 91"/>
                    <a:gd name="T63" fmla="*/ 71 h 91"/>
                    <a:gd name="T64" fmla="*/ 78 w 91"/>
                    <a:gd name="T65" fmla="*/ 78 h 91"/>
                    <a:gd name="T66" fmla="*/ 71 w 91"/>
                    <a:gd name="T67" fmla="*/ 84 h 91"/>
                    <a:gd name="T68" fmla="*/ 63 w 91"/>
                    <a:gd name="T69" fmla="*/ 87 h 91"/>
                    <a:gd name="T70" fmla="*/ 54 w 91"/>
                    <a:gd name="T71" fmla="*/ 89 h 91"/>
                    <a:gd name="T72" fmla="*/ 45 w 91"/>
                    <a:gd name="T73" fmla="*/ 91 h 91"/>
                    <a:gd name="T74" fmla="*/ 45 w 91"/>
                    <a:gd name="T75" fmla="*/ 91 h 91"/>
                    <a:gd name="T76" fmla="*/ 45 w 91"/>
                    <a:gd name="T77" fmla="*/ 30 h 91"/>
                    <a:gd name="T78" fmla="*/ 45 w 91"/>
                    <a:gd name="T79" fmla="*/ 30 h 91"/>
                    <a:gd name="T80" fmla="*/ 39 w 91"/>
                    <a:gd name="T81" fmla="*/ 32 h 91"/>
                    <a:gd name="T82" fmla="*/ 35 w 91"/>
                    <a:gd name="T83" fmla="*/ 35 h 91"/>
                    <a:gd name="T84" fmla="*/ 32 w 91"/>
                    <a:gd name="T85" fmla="*/ 39 h 91"/>
                    <a:gd name="T86" fmla="*/ 30 w 91"/>
                    <a:gd name="T87" fmla="*/ 45 h 91"/>
                    <a:gd name="T88" fmla="*/ 30 w 91"/>
                    <a:gd name="T89" fmla="*/ 45 h 91"/>
                    <a:gd name="T90" fmla="*/ 32 w 91"/>
                    <a:gd name="T91" fmla="*/ 50 h 91"/>
                    <a:gd name="T92" fmla="*/ 35 w 91"/>
                    <a:gd name="T93" fmla="*/ 56 h 91"/>
                    <a:gd name="T94" fmla="*/ 39 w 91"/>
                    <a:gd name="T95" fmla="*/ 60 h 91"/>
                    <a:gd name="T96" fmla="*/ 45 w 91"/>
                    <a:gd name="T97" fmla="*/ 60 h 91"/>
                    <a:gd name="T98" fmla="*/ 45 w 91"/>
                    <a:gd name="T99" fmla="*/ 60 h 91"/>
                    <a:gd name="T100" fmla="*/ 50 w 91"/>
                    <a:gd name="T101" fmla="*/ 60 h 91"/>
                    <a:gd name="T102" fmla="*/ 56 w 91"/>
                    <a:gd name="T103" fmla="*/ 56 h 91"/>
                    <a:gd name="T104" fmla="*/ 59 w 91"/>
                    <a:gd name="T105" fmla="*/ 50 h 91"/>
                    <a:gd name="T106" fmla="*/ 59 w 91"/>
                    <a:gd name="T107" fmla="*/ 45 h 91"/>
                    <a:gd name="T108" fmla="*/ 59 w 91"/>
                    <a:gd name="T109" fmla="*/ 45 h 91"/>
                    <a:gd name="T110" fmla="*/ 59 w 91"/>
                    <a:gd name="T111" fmla="*/ 39 h 91"/>
                    <a:gd name="T112" fmla="*/ 56 w 91"/>
                    <a:gd name="T113" fmla="*/ 35 h 91"/>
                    <a:gd name="T114" fmla="*/ 50 w 91"/>
                    <a:gd name="T115" fmla="*/ 32 h 91"/>
                    <a:gd name="T116" fmla="*/ 45 w 91"/>
                    <a:gd name="T117" fmla="*/ 30 h 91"/>
                    <a:gd name="T118" fmla="*/ 45 w 91"/>
                    <a:gd name="T119" fmla="*/ 30 h 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91" h="91">
                      <a:moveTo>
                        <a:pt x="45" y="91"/>
                      </a:moveTo>
                      <a:lnTo>
                        <a:pt x="45" y="91"/>
                      </a:lnTo>
                      <a:lnTo>
                        <a:pt x="35" y="89"/>
                      </a:lnTo>
                      <a:lnTo>
                        <a:pt x="28" y="87"/>
                      </a:lnTo>
                      <a:lnTo>
                        <a:pt x="21" y="84"/>
                      </a:lnTo>
                      <a:lnTo>
                        <a:pt x="13" y="78"/>
                      </a:lnTo>
                      <a:lnTo>
                        <a:pt x="8" y="71"/>
                      </a:lnTo>
                      <a:lnTo>
                        <a:pt x="4" y="63"/>
                      </a:lnTo>
                      <a:lnTo>
                        <a:pt x="0" y="54"/>
                      </a:lnTo>
                      <a:lnTo>
                        <a:pt x="0" y="45"/>
                      </a:lnTo>
                      <a:lnTo>
                        <a:pt x="0" y="45"/>
                      </a:lnTo>
                      <a:lnTo>
                        <a:pt x="0" y="35"/>
                      </a:lnTo>
                      <a:lnTo>
                        <a:pt x="4" y="28"/>
                      </a:lnTo>
                      <a:lnTo>
                        <a:pt x="8" y="21"/>
                      </a:lnTo>
                      <a:lnTo>
                        <a:pt x="13" y="13"/>
                      </a:lnTo>
                      <a:lnTo>
                        <a:pt x="21" y="8"/>
                      </a:lnTo>
                      <a:lnTo>
                        <a:pt x="28" y="4"/>
                      </a:lnTo>
                      <a:lnTo>
                        <a:pt x="35" y="0"/>
                      </a:lnTo>
                      <a:lnTo>
                        <a:pt x="45" y="0"/>
                      </a:lnTo>
                      <a:lnTo>
                        <a:pt x="45" y="0"/>
                      </a:lnTo>
                      <a:lnTo>
                        <a:pt x="54" y="0"/>
                      </a:lnTo>
                      <a:lnTo>
                        <a:pt x="63" y="4"/>
                      </a:lnTo>
                      <a:lnTo>
                        <a:pt x="71" y="8"/>
                      </a:lnTo>
                      <a:lnTo>
                        <a:pt x="78" y="13"/>
                      </a:lnTo>
                      <a:lnTo>
                        <a:pt x="84" y="21"/>
                      </a:lnTo>
                      <a:lnTo>
                        <a:pt x="87" y="28"/>
                      </a:lnTo>
                      <a:lnTo>
                        <a:pt x="89" y="35"/>
                      </a:lnTo>
                      <a:lnTo>
                        <a:pt x="91" y="45"/>
                      </a:lnTo>
                      <a:lnTo>
                        <a:pt x="91" y="45"/>
                      </a:lnTo>
                      <a:lnTo>
                        <a:pt x="89" y="54"/>
                      </a:lnTo>
                      <a:lnTo>
                        <a:pt x="87" y="63"/>
                      </a:lnTo>
                      <a:lnTo>
                        <a:pt x="84" y="71"/>
                      </a:lnTo>
                      <a:lnTo>
                        <a:pt x="78" y="78"/>
                      </a:lnTo>
                      <a:lnTo>
                        <a:pt x="71" y="84"/>
                      </a:lnTo>
                      <a:lnTo>
                        <a:pt x="63" y="87"/>
                      </a:lnTo>
                      <a:lnTo>
                        <a:pt x="54" y="89"/>
                      </a:lnTo>
                      <a:lnTo>
                        <a:pt x="45" y="91"/>
                      </a:lnTo>
                      <a:lnTo>
                        <a:pt x="45" y="91"/>
                      </a:lnTo>
                      <a:close/>
                      <a:moveTo>
                        <a:pt x="45" y="30"/>
                      </a:moveTo>
                      <a:lnTo>
                        <a:pt x="45" y="30"/>
                      </a:lnTo>
                      <a:lnTo>
                        <a:pt x="39" y="32"/>
                      </a:lnTo>
                      <a:lnTo>
                        <a:pt x="35" y="35"/>
                      </a:lnTo>
                      <a:lnTo>
                        <a:pt x="32" y="39"/>
                      </a:lnTo>
                      <a:lnTo>
                        <a:pt x="30" y="45"/>
                      </a:lnTo>
                      <a:lnTo>
                        <a:pt x="30" y="45"/>
                      </a:lnTo>
                      <a:lnTo>
                        <a:pt x="32" y="50"/>
                      </a:lnTo>
                      <a:lnTo>
                        <a:pt x="35" y="56"/>
                      </a:lnTo>
                      <a:lnTo>
                        <a:pt x="39" y="60"/>
                      </a:lnTo>
                      <a:lnTo>
                        <a:pt x="45" y="60"/>
                      </a:lnTo>
                      <a:lnTo>
                        <a:pt x="45" y="60"/>
                      </a:lnTo>
                      <a:lnTo>
                        <a:pt x="50" y="60"/>
                      </a:lnTo>
                      <a:lnTo>
                        <a:pt x="56" y="56"/>
                      </a:lnTo>
                      <a:lnTo>
                        <a:pt x="59" y="50"/>
                      </a:lnTo>
                      <a:lnTo>
                        <a:pt x="59" y="45"/>
                      </a:lnTo>
                      <a:lnTo>
                        <a:pt x="59" y="45"/>
                      </a:lnTo>
                      <a:lnTo>
                        <a:pt x="59" y="39"/>
                      </a:lnTo>
                      <a:lnTo>
                        <a:pt x="56" y="35"/>
                      </a:lnTo>
                      <a:lnTo>
                        <a:pt x="50" y="32"/>
                      </a:lnTo>
                      <a:lnTo>
                        <a:pt x="45" y="30"/>
                      </a:lnTo>
                      <a:lnTo>
                        <a:pt x="45" y="3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30" name="Rectangle 29">
                  <a:extLst>
                    <a:ext uri="{FF2B5EF4-FFF2-40B4-BE49-F238E27FC236}">
                      <a16:creationId xmlns:a16="http://schemas.microsoft.com/office/drawing/2014/main" id="{CAAE7413-EF26-4717-AC8C-2CF23F2E41D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2178051"/>
                  <a:ext cx="49213" cy="93663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31" name="Freeform 253">
                  <a:extLst>
                    <a:ext uri="{FF2B5EF4-FFF2-40B4-BE49-F238E27FC236}">
                      <a16:creationId xmlns:a16="http://schemas.microsoft.com/office/drawing/2014/main" id="{73AA1EC9-474D-472D-8564-CF212A52E48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716963" y="2192338"/>
                  <a:ext cx="68263" cy="103188"/>
                </a:xfrm>
                <a:custGeom>
                  <a:avLst/>
                  <a:gdLst>
                    <a:gd name="T0" fmla="*/ 30 w 43"/>
                    <a:gd name="T1" fmla="*/ 65 h 65"/>
                    <a:gd name="T2" fmla="*/ 0 w 43"/>
                    <a:gd name="T3" fmla="*/ 59 h 65"/>
                    <a:gd name="T4" fmla="*/ 13 w 43"/>
                    <a:gd name="T5" fmla="*/ 0 h 65"/>
                    <a:gd name="T6" fmla="*/ 43 w 43"/>
                    <a:gd name="T7" fmla="*/ 6 h 65"/>
                    <a:gd name="T8" fmla="*/ 30 w 43"/>
                    <a:gd name="T9" fmla="*/ 65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3" h="65">
                      <a:moveTo>
                        <a:pt x="30" y="65"/>
                      </a:moveTo>
                      <a:lnTo>
                        <a:pt x="0" y="59"/>
                      </a:lnTo>
                      <a:lnTo>
                        <a:pt x="13" y="0"/>
                      </a:lnTo>
                      <a:lnTo>
                        <a:pt x="43" y="6"/>
                      </a:lnTo>
                      <a:lnTo>
                        <a:pt x="30" y="65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32" name="Freeform 254">
                  <a:extLst>
                    <a:ext uri="{FF2B5EF4-FFF2-40B4-BE49-F238E27FC236}">
                      <a16:creationId xmlns:a16="http://schemas.microsoft.com/office/drawing/2014/main" id="{61A6ADAC-B9E4-492F-865E-BCE734A5588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882063" y="2244726"/>
                  <a:ext cx="82550" cy="109538"/>
                </a:xfrm>
                <a:custGeom>
                  <a:avLst/>
                  <a:gdLst>
                    <a:gd name="T0" fmla="*/ 28 w 52"/>
                    <a:gd name="T1" fmla="*/ 69 h 69"/>
                    <a:gd name="T2" fmla="*/ 0 w 52"/>
                    <a:gd name="T3" fmla="*/ 56 h 69"/>
                    <a:gd name="T4" fmla="*/ 24 w 52"/>
                    <a:gd name="T5" fmla="*/ 0 h 69"/>
                    <a:gd name="T6" fmla="*/ 52 w 52"/>
                    <a:gd name="T7" fmla="*/ 13 h 69"/>
                    <a:gd name="T8" fmla="*/ 28 w 52"/>
                    <a:gd name="T9" fmla="*/ 69 h 6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2" h="69">
                      <a:moveTo>
                        <a:pt x="28" y="69"/>
                      </a:moveTo>
                      <a:lnTo>
                        <a:pt x="0" y="56"/>
                      </a:lnTo>
                      <a:lnTo>
                        <a:pt x="24" y="0"/>
                      </a:lnTo>
                      <a:lnTo>
                        <a:pt x="52" y="13"/>
                      </a:lnTo>
                      <a:lnTo>
                        <a:pt x="28" y="69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33" name="Freeform 255">
                  <a:extLst>
                    <a:ext uri="{FF2B5EF4-FFF2-40B4-BE49-F238E27FC236}">
                      <a16:creationId xmlns:a16="http://schemas.microsoft.com/office/drawing/2014/main" id="{977A77F8-1623-4CB7-A819-AAAAA493D4D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031288" y="2339976"/>
                  <a:ext cx="98425" cy="104775"/>
                </a:xfrm>
                <a:custGeom>
                  <a:avLst/>
                  <a:gdLst>
                    <a:gd name="T0" fmla="*/ 26 w 62"/>
                    <a:gd name="T1" fmla="*/ 66 h 66"/>
                    <a:gd name="T2" fmla="*/ 0 w 62"/>
                    <a:gd name="T3" fmla="*/ 48 h 66"/>
                    <a:gd name="T4" fmla="*/ 37 w 62"/>
                    <a:gd name="T5" fmla="*/ 0 h 66"/>
                    <a:gd name="T6" fmla="*/ 62 w 62"/>
                    <a:gd name="T7" fmla="*/ 16 h 66"/>
                    <a:gd name="T8" fmla="*/ 26 w 62"/>
                    <a:gd name="T9" fmla="*/ 66 h 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2" h="66">
                      <a:moveTo>
                        <a:pt x="26" y="66"/>
                      </a:moveTo>
                      <a:lnTo>
                        <a:pt x="0" y="48"/>
                      </a:lnTo>
                      <a:lnTo>
                        <a:pt x="37" y="0"/>
                      </a:lnTo>
                      <a:lnTo>
                        <a:pt x="62" y="16"/>
                      </a:lnTo>
                      <a:lnTo>
                        <a:pt x="26" y="66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34" name="Freeform 256">
                  <a:extLst>
                    <a:ext uri="{FF2B5EF4-FFF2-40B4-BE49-F238E27FC236}">
                      <a16:creationId xmlns:a16="http://schemas.microsoft.com/office/drawing/2014/main" id="{935FDF97-10EE-4E4C-A53E-9166170DD4A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164638" y="2462213"/>
                  <a:ext cx="103188" cy="100013"/>
                </a:xfrm>
                <a:custGeom>
                  <a:avLst/>
                  <a:gdLst>
                    <a:gd name="T0" fmla="*/ 20 w 65"/>
                    <a:gd name="T1" fmla="*/ 63 h 63"/>
                    <a:gd name="T2" fmla="*/ 0 w 65"/>
                    <a:gd name="T3" fmla="*/ 41 h 63"/>
                    <a:gd name="T4" fmla="*/ 44 w 65"/>
                    <a:gd name="T5" fmla="*/ 0 h 63"/>
                    <a:gd name="T6" fmla="*/ 65 w 65"/>
                    <a:gd name="T7" fmla="*/ 23 h 63"/>
                    <a:gd name="T8" fmla="*/ 20 w 65"/>
                    <a:gd name="T9" fmla="*/ 63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5" h="63">
                      <a:moveTo>
                        <a:pt x="20" y="63"/>
                      </a:moveTo>
                      <a:lnTo>
                        <a:pt x="0" y="41"/>
                      </a:lnTo>
                      <a:lnTo>
                        <a:pt x="44" y="0"/>
                      </a:lnTo>
                      <a:lnTo>
                        <a:pt x="65" y="23"/>
                      </a:lnTo>
                      <a:lnTo>
                        <a:pt x="20" y="6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35" name="Freeform 257">
                  <a:extLst>
                    <a:ext uri="{FF2B5EF4-FFF2-40B4-BE49-F238E27FC236}">
                      <a16:creationId xmlns:a16="http://schemas.microsoft.com/office/drawing/2014/main" id="{CA562749-14B7-41A8-BB25-A07EBB3C4AD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271001" y="2616201"/>
                  <a:ext cx="104775" cy="87313"/>
                </a:xfrm>
                <a:custGeom>
                  <a:avLst/>
                  <a:gdLst>
                    <a:gd name="T0" fmla="*/ 14 w 66"/>
                    <a:gd name="T1" fmla="*/ 55 h 55"/>
                    <a:gd name="T2" fmla="*/ 0 w 66"/>
                    <a:gd name="T3" fmla="*/ 29 h 55"/>
                    <a:gd name="T4" fmla="*/ 51 w 66"/>
                    <a:gd name="T5" fmla="*/ 0 h 55"/>
                    <a:gd name="T6" fmla="*/ 66 w 66"/>
                    <a:gd name="T7" fmla="*/ 26 h 55"/>
                    <a:gd name="T8" fmla="*/ 14 w 66"/>
                    <a:gd name="T9" fmla="*/ 55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6" h="55">
                      <a:moveTo>
                        <a:pt x="14" y="55"/>
                      </a:moveTo>
                      <a:lnTo>
                        <a:pt x="0" y="29"/>
                      </a:lnTo>
                      <a:lnTo>
                        <a:pt x="51" y="0"/>
                      </a:lnTo>
                      <a:lnTo>
                        <a:pt x="66" y="26"/>
                      </a:lnTo>
                      <a:lnTo>
                        <a:pt x="14" y="55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36" name="Freeform 258">
                  <a:extLst>
                    <a:ext uri="{FF2B5EF4-FFF2-40B4-BE49-F238E27FC236}">
                      <a16:creationId xmlns:a16="http://schemas.microsoft.com/office/drawing/2014/main" id="{408CA8BA-E75E-4490-98D8-1AEDFA54646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344026" y="2789238"/>
                  <a:ext cx="106363" cy="76200"/>
                </a:xfrm>
                <a:custGeom>
                  <a:avLst/>
                  <a:gdLst>
                    <a:gd name="T0" fmla="*/ 9 w 67"/>
                    <a:gd name="T1" fmla="*/ 48 h 48"/>
                    <a:gd name="T2" fmla="*/ 0 w 67"/>
                    <a:gd name="T3" fmla="*/ 19 h 48"/>
                    <a:gd name="T4" fmla="*/ 57 w 67"/>
                    <a:gd name="T5" fmla="*/ 0 h 48"/>
                    <a:gd name="T6" fmla="*/ 67 w 67"/>
                    <a:gd name="T7" fmla="*/ 28 h 48"/>
                    <a:gd name="T8" fmla="*/ 9 w 67"/>
                    <a:gd name="T9" fmla="*/ 48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7" h="48">
                      <a:moveTo>
                        <a:pt x="9" y="48"/>
                      </a:moveTo>
                      <a:lnTo>
                        <a:pt x="0" y="19"/>
                      </a:lnTo>
                      <a:lnTo>
                        <a:pt x="57" y="0"/>
                      </a:lnTo>
                      <a:lnTo>
                        <a:pt x="67" y="28"/>
                      </a:lnTo>
                      <a:lnTo>
                        <a:pt x="9" y="48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37" name="Freeform 259">
                  <a:extLst>
                    <a:ext uri="{FF2B5EF4-FFF2-40B4-BE49-F238E27FC236}">
                      <a16:creationId xmlns:a16="http://schemas.microsoft.com/office/drawing/2014/main" id="{1090CF3A-27A3-4311-8FE7-596CA729EF8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385301" y="2974976"/>
                  <a:ext cx="100013" cy="58738"/>
                </a:xfrm>
                <a:custGeom>
                  <a:avLst/>
                  <a:gdLst>
                    <a:gd name="T0" fmla="*/ 3 w 63"/>
                    <a:gd name="T1" fmla="*/ 37 h 37"/>
                    <a:gd name="T2" fmla="*/ 0 w 63"/>
                    <a:gd name="T3" fmla="*/ 7 h 37"/>
                    <a:gd name="T4" fmla="*/ 59 w 63"/>
                    <a:gd name="T5" fmla="*/ 0 h 37"/>
                    <a:gd name="T6" fmla="*/ 63 w 63"/>
                    <a:gd name="T7" fmla="*/ 31 h 37"/>
                    <a:gd name="T8" fmla="*/ 3 w 63"/>
                    <a:gd name="T9" fmla="*/ 37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3" h="37">
                      <a:moveTo>
                        <a:pt x="3" y="37"/>
                      </a:moveTo>
                      <a:lnTo>
                        <a:pt x="0" y="7"/>
                      </a:lnTo>
                      <a:lnTo>
                        <a:pt x="59" y="0"/>
                      </a:lnTo>
                      <a:lnTo>
                        <a:pt x="63" y="31"/>
                      </a:lnTo>
                      <a:lnTo>
                        <a:pt x="3" y="37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38" name="Freeform 260">
                  <a:extLst>
                    <a:ext uri="{FF2B5EF4-FFF2-40B4-BE49-F238E27FC236}">
                      <a16:creationId xmlns:a16="http://schemas.microsoft.com/office/drawing/2014/main" id="{3FAB6C50-BDDE-45C0-926C-7837C8FA7B7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385301" y="3157538"/>
                  <a:ext cx="100013" cy="58738"/>
                </a:xfrm>
                <a:custGeom>
                  <a:avLst/>
                  <a:gdLst>
                    <a:gd name="T0" fmla="*/ 59 w 63"/>
                    <a:gd name="T1" fmla="*/ 37 h 37"/>
                    <a:gd name="T2" fmla="*/ 0 w 63"/>
                    <a:gd name="T3" fmla="*/ 31 h 37"/>
                    <a:gd name="T4" fmla="*/ 3 w 63"/>
                    <a:gd name="T5" fmla="*/ 0 h 37"/>
                    <a:gd name="T6" fmla="*/ 63 w 63"/>
                    <a:gd name="T7" fmla="*/ 7 h 37"/>
                    <a:gd name="T8" fmla="*/ 59 w 63"/>
                    <a:gd name="T9" fmla="*/ 37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3" h="37">
                      <a:moveTo>
                        <a:pt x="59" y="37"/>
                      </a:moveTo>
                      <a:lnTo>
                        <a:pt x="0" y="31"/>
                      </a:lnTo>
                      <a:lnTo>
                        <a:pt x="3" y="0"/>
                      </a:lnTo>
                      <a:lnTo>
                        <a:pt x="63" y="7"/>
                      </a:lnTo>
                      <a:lnTo>
                        <a:pt x="59" y="37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39" name="Freeform 261">
                  <a:extLst>
                    <a:ext uri="{FF2B5EF4-FFF2-40B4-BE49-F238E27FC236}">
                      <a16:creationId xmlns:a16="http://schemas.microsoft.com/office/drawing/2014/main" id="{47D663F0-8018-44F9-80F0-01A8B6986EC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344026" y="3327401"/>
                  <a:ext cx="106363" cy="76200"/>
                </a:xfrm>
                <a:custGeom>
                  <a:avLst/>
                  <a:gdLst>
                    <a:gd name="T0" fmla="*/ 57 w 67"/>
                    <a:gd name="T1" fmla="*/ 48 h 48"/>
                    <a:gd name="T2" fmla="*/ 0 w 67"/>
                    <a:gd name="T3" fmla="*/ 28 h 48"/>
                    <a:gd name="T4" fmla="*/ 9 w 67"/>
                    <a:gd name="T5" fmla="*/ 0 h 48"/>
                    <a:gd name="T6" fmla="*/ 67 w 67"/>
                    <a:gd name="T7" fmla="*/ 19 h 48"/>
                    <a:gd name="T8" fmla="*/ 57 w 67"/>
                    <a:gd name="T9" fmla="*/ 48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7" h="48">
                      <a:moveTo>
                        <a:pt x="57" y="48"/>
                      </a:moveTo>
                      <a:lnTo>
                        <a:pt x="0" y="28"/>
                      </a:lnTo>
                      <a:lnTo>
                        <a:pt x="9" y="0"/>
                      </a:lnTo>
                      <a:lnTo>
                        <a:pt x="67" y="19"/>
                      </a:lnTo>
                      <a:lnTo>
                        <a:pt x="57" y="48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40" name="Freeform 262">
                  <a:extLst>
                    <a:ext uri="{FF2B5EF4-FFF2-40B4-BE49-F238E27FC236}">
                      <a16:creationId xmlns:a16="http://schemas.microsoft.com/office/drawing/2014/main" id="{0101A9CE-A12E-44DC-AD06-F6FE1A728FC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271001" y="3486151"/>
                  <a:ext cx="104775" cy="92075"/>
                </a:xfrm>
                <a:custGeom>
                  <a:avLst/>
                  <a:gdLst>
                    <a:gd name="T0" fmla="*/ 51 w 66"/>
                    <a:gd name="T1" fmla="*/ 58 h 58"/>
                    <a:gd name="T2" fmla="*/ 0 w 66"/>
                    <a:gd name="T3" fmla="*/ 26 h 58"/>
                    <a:gd name="T4" fmla="*/ 14 w 66"/>
                    <a:gd name="T5" fmla="*/ 0 h 58"/>
                    <a:gd name="T6" fmla="*/ 66 w 66"/>
                    <a:gd name="T7" fmla="*/ 30 h 58"/>
                    <a:gd name="T8" fmla="*/ 51 w 66"/>
                    <a:gd name="T9" fmla="*/ 58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6" h="58">
                      <a:moveTo>
                        <a:pt x="51" y="58"/>
                      </a:moveTo>
                      <a:lnTo>
                        <a:pt x="0" y="26"/>
                      </a:lnTo>
                      <a:lnTo>
                        <a:pt x="14" y="0"/>
                      </a:lnTo>
                      <a:lnTo>
                        <a:pt x="66" y="30"/>
                      </a:lnTo>
                      <a:lnTo>
                        <a:pt x="51" y="58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41" name="Freeform 263">
                  <a:extLst>
                    <a:ext uri="{FF2B5EF4-FFF2-40B4-BE49-F238E27FC236}">
                      <a16:creationId xmlns:a16="http://schemas.microsoft.com/office/drawing/2014/main" id="{13CE1013-3E66-434C-A86D-CC70498A1AD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164638" y="3627438"/>
                  <a:ext cx="103188" cy="100013"/>
                </a:xfrm>
                <a:custGeom>
                  <a:avLst/>
                  <a:gdLst>
                    <a:gd name="T0" fmla="*/ 44 w 65"/>
                    <a:gd name="T1" fmla="*/ 63 h 63"/>
                    <a:gd name="T2" fmla="*/ 0 w 65"/>
                    <a:gd name="T3" fmla="*/ 24 h 63"/>
                    <a:gd name="T4" fmla="*/ 20 w 65"/>
                    <a:gd name="T5" fmla="*/ 0 h 63"/>
                    <a:gd name="T6" fmla="*/ 65 w 65"/>
                    <a:gd name="T7" fmla="*/ 41 h 63"/>
                    <a:gd name="T8" fmla="*/ 44 w 65"/>
                    <a:gd name="T9" fmla="*/ 63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5" h="63">
                      <a:moveTo>
                        <a:pt x="44" y="63"/>
                      </a:moveTo>
                      <a:lnTo>
                        <a:pt x="0" y="24"/>
                      </a:lnTo>
                      <a:lnTo>
                        <a:pt x="20" y="0"/>
                      </a:lnTo>
                      <a:lnTo>
                        <a:pt x="65" y="41"/>
                      </a:lnTo>
                      <a:lnTo>
                        <a:pt x="44" y="6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42" name="Freeform 264">
                  <a:extLst>
                    <a:ext uri="{FF2B5EF4-FFF2-40B4-BE49-F238E27FC236}">
                      <a16:creationId xmlns:a16="http://schemas.microsoft.com/office/drawing/2014/main" id="{8E6176CC-397B-4CA1-985C-7F8F098D305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031288" y="3748088"/>
                  <a:ext cx="98425" cy="106363"/>
                </a:xfrm>
                <a:custGeom>
                  <a:avLst/>
                  <a:gdLst>
                    <a:gd name="T0" fmla="*/ 37 w 62"/>
                    <a:gd name="T1" fmla="*/ 67 h 67"/>
                    <a:gd name="T2" fmla="*/ 0 w 62"/>
                    <a:gd name="T3" fmla="*/ 17 h 67"/>
                    <a:gd name="T4" fmla="*/ 26 w 62"/>
                    <a:gd name="T5" fmla="*/ 0 h 67"/>
                    <a:gd name="T6" fmla="*/ 62 w 62"/>
                    <a:gd name="T7" fmla="*/ 48 h 67"/>
                    <a:gd name="T8" fmla="*/ 37 w 62"/>
                    <a:gd name="T9" fmla="*/ 67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2" h="67">
                      <a:moveTo>
                        <a:pt x="37" y="67"/>
                      </a:moveTo>
                      <a:lnTo>
                        <a:pt x="0" y="17"/>
                      </a:lnTo>
                      <a:lnTo>
                        <a:pt x="26" y="0"/>
                      </a:lnTo>
                      <a:lnTo>
                        <a:pt x="62" y="48"/>
                      </a:lnTo>
                      <a:lnTo>
                        <a:pt x="37" y="67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43" name="Freeform 265">
                  <a:extLst>
                    <a:ext uri="{FF2B5EF4-FFF2-40B4-BE49-F238E27FC236}">
                      <a16:creationId xmlns:a16="http://schemas.microsoft.com/office/drawing/2014/main" id="{62E95CCC-CC2C-45B4-BF48-0CB536D00C6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355013" y="2192338"/>
                  <a:ext cx="65088" cy="103188"/>
                </a:xfrm>
                <a:custGeom>
                  <a:avLst/>
                  <a:gdLst>
                    <a:gd name="T0" fmla="*/ 11 w 41"/>
                    <a:gd name="T1" fmla="*/ 65 h 65"/>
                    <a:gd name="T2" fmla="*/ 0 w 41"/>
                    <a:gd name="T3" fmla="*/ 6 h 65"/>
                    <a:gd name="T4" fmla="*/ 30 w 41"/>
                    <a:gd name="T5" fmla="*/ 0 h 65"/>
                    <a:gd name="T6" fmla="*/ 41 w 41"/>
                    <a:gd name="T7" fmla="*/ 59 h 65"/>
                    <a:gd name="T8" fmla="*/ 11 w 41"/>
                    <a:gd name="T9" fmla="*/ 65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1" h="65">
                      <a:moveTo>
                        <a:pt x="11" y="65"/>
                      </a:moveTo>
                      <a:lnTo>
                        <a:pt x="0" y="6"/>
                      </a:lnTo>
                      <a:lnTo>
                        <a:pt x="30" y="0"/>
                      </a:lnTo>
                      <a:lnTo>
                        <a:pt x="41" y="59"/>
                      </a:lnTo>
                      <a:lnTo>
                        <a:pt x="11" y="65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44" name="Freeform 266">
                  <a:extLst>
                    <a:ext uri="{FF2B5EF4-FFF2-40B4-BE49-F238E27FC236}">
                      <a16:creationId xmlns:a16="http://schemas.microsoft.com/office/drawing/2014/main" id="{0C70349C-B12D-4A72-A795-29BFCAA01DC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172451" y="2244726"/>
                  <a:ext cx="82550" cy="109538"/>
                </a:xfrm>
                <a:custGeom>
                  <a:avLst/>
                  <a:gdLst>
                    <a:gd name="T0" fmla="*/ 24 w 52"/>
                    <a:gd name="T1" fmla="*/ 69 h 69"/>
                    <a:gd name="T2" fmla="*/ 0 w 52"/>
                    <a:gd name="T3" fmla="*/ 13 h 69"/>
                    <a:gd name="T4" fmla="*/ 28 w 52"/>
                    <a:gd name="T5" fmla="*/ 0 h 69"/>
                    <a:gd name="T6" fmla="*/ 52 w 52"/>
                    <a:gd name="T7" fmla="*/ 56 h 69"/>
                    <a:gd name="T8" fmla="*/ 24 w 52"/>
                    <a:gd name="T9" fmla="*/ 69 h 6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2" h="69">
                      <a:moveTo>
                        <a:pt x="24" y="69"/>
                      </a:moveTo>
                      <a:lnTo>
                        <a:pt x="0" y="13"/>
                      </a:lnTo>
                      <a:lnTo>
                        <a:pt x="28" y="0"/>
                      </a:lnTo>
                      <a:lnTo>
                        <a:pt x="52" y="56"/>
                      </a:lnTo>
                      <a:lnTo>
                        <a:pt x="24" y="69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45" name="Freeform 267">
                  <a:extLst>
                    <a:ext uri="{FF2B5EF4-FFF2-40B4-BE49-F238E27FC236}">
                      <a16:creationId xmlns:a16="http://schemas.microsoft.com/office/drawing/2014/main" id="{54AA60F1-EA14-4143-BBC2-403E43DB1EE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008938" y="2339976"/>
                  <a:ext cx="96838" cy="104775"/>
                </a:xfrm>
                <a:custGeom>
                  <a:avLst/>
                  <a:gdLst>
                    <a:gd name="T0" fmla="*/ 37 w 61"/>
                    <a:gd name="T1" fmla="*/ 66 h 66"/>
                    <a:gd name="T2" fmla="*/ 0 w 61"/>
                    <a:gd name="T3" fmla="*/ 16 h 66"/>
                    <a:gd name="T4" fmla="*/ 26 w 61"/>
                    <a:gd name="T5" fmla="*/ 0 h 66"/>
                    <a:gd name="T6" fmla="*/ 61 w 61"/>
                    <a:gd name="T7" fmla="*/ 48 h 66"/>
                    <a:gd name="T8" fmla="*/ 37 w 61"/>
                    <a:gd name="T9" fmla="*/ 66 h 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1" h="66">
                      <a:moveTo>
                        <a:pt x="37" y="66"/>
                      </a:moveTo>
                      <a:lnTo>
                        <a:pt x="0" y="16"/>
                      </a:lnTo>
                      <a:lnTo>
                        <a:pt x="26" y="0"/>
                      </a:lnTo>
                      <a:lnTo>
                        <a:pt x="61" y="48"/>
                      </a:lnTo>
                      <a:lnTo>
                        <a:pt x="37" y="66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46" name="Freeform 268">
                  <a:extLst>
                    <a:ext uri="{FF2B5EF4-FFF2-40B4-BE49-F238E27FC236}">
                      <a16:creationId xmlns:a16="http://schemas.microsoft.com/office/drawing/2014/main" id="{6A9FE813-E6B8-4C88-B669-F9DD4D594FA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870826" y="2462213"/>
                  <a:ext cx="101600" cy="100013"/>
                </a:xfrm>
                <a:custGeom>
                  <a:avLst/>
                  <a:gdLst>
                    <a:gd name="T0" fmla="*/ 44 w 64"/>
                    <a:gd name="T1" fmla="*/ 63 h 63"/>
                    <a:gd name="T2" fmla="*/ 0 w 64"/>
                    <a:gd name="T3" fmla="*/ 23 h 63"/>
                    <a:gd name="T4" fmla="*/ 20 w 64"/>
                    <a:gd name="T5" fmla="*/ 0 h 63"/>
                    <a:gd name="T6" fmla="*/ 64 w 64"/>
                    <a:gd name="T7" fmla="*/ 41 h 63"/>
                    <a:gd name="T8" fmla="*/ 44 w 64"/>
                    <a:gd name="T9" fmla="*/ 63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4" h="63">
                      <a:moveTo>
                        <a:pt x="44" y="63"/>
                      </a:moveTo>
                      <a:lnTo>
                        <a:pt x="0" y="23"/>
                      </a:lnTo>
                      <a:lnTo>
                        <a:pt x="20" y="0"/>
                      </a:lnTo>
                      <a:lnTo>
                        <a:pt x="64" y="41"/>
                      </a:lnTo>
                      <a:lnTo>
                        <a:pt x="44" y="6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47" name="Freeform 269">
                  <a:extLst>
                    <a:ext uri="{FF2B5EF4-FFF2-40B4-BE49-F238E27FC236}">
                      <a16:creationId xmlns:a16="http://schemas.microsoft.com/office/drawing/2014/main" id="{603A3DBC-6ECA-4B3E-A67C-A80CC97937D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761288" y="2616201"/>
                  <a:ext cx="106363" cy="87313"/>
                </a:xfrm>
                <a:custGeom>
                  <a:avLst/>
                  <a:gdLst>
                    <a:gd name="T0" fmla="*/ 52 w 67"/>
                    <a:gd name="T1" fmla="*/ 55 h 55"/>
                    <a:gd name="T2" fmla="*/ 0 w 67"/>
                    <a:gd name="T3" fmla="*/ 26 h 55"/>
                    <a:gd name="T4" fmla="*/ 15 w 67"/>
                    <a:gd name="T5" fmla="*/ 0 h 55"/>
                    <a:gd name="T6" fmla="*/ 67 w 67"/>
                    <a:gd name="T7" fmla="*/ 29 h 55"/>
                    <a:gd name="T8" fmla="*/ 52 w 67"/>
                    <a:gd name="T9" fmla="*/ 55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7" h="55">
                      <a:moveTo>
                        <a:pt x="52" y="55"/>
                      </a:moveTo>
                      <a:lnTo>
                        <a:pt x="0" y="26"/>
                      </a:lnTo>
                      <a:lnTo>
                        <a:pt x="15" y="0"/>
                      </a:lnTo>
                      <a:lnTo>
                        <a:pt x="67" y="29"/>
                      </a:lnTo>
                      <a:lnTo>
                        <a:pt x="52" y="55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48" name="Freeform 270">
                  <a:extLst>
                    <a:ext uri="{FF2B5EF4-FFF2-40B4-BE49-F238E27FC236}">
                      <a16:creationId xmlns:a16="http://schemas.microsoft.com/office/drawing/2014/main" id="{0F7E6AE9-98CA-4620-AB33-54F1E0AB17E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688263" y="2789238"/>
                  <a:ext cx="104775" cy="76200"/>
                </a:xfrm>
                <a:custGeom>
                  <a:avLst/>
                  <a:gdLst>
                    <a:gd name="T0" fmla="*/ 57 w 66"/>
                    <a:gd name="T1" fmla="*/ 48 h 48"/>
                    <a:gd name="T2" fmla="*/ 0 w 66"/>
                    <a:gd name="T3" fmla="*/ 28 h 48"/>
                    <a:gd name="T4" fmla="*/ 9 w 66"/>
                    <a:gd name="T5" fmla="*/ 0 h 48"/>
                    <a:gd name="T6" fmla="*/ 66 w 66"/>
                    <a:gd name="T7" fmla="*/ 19 h 48"/>
                    <a:gd name="T8" fmla="*/ 57 w 66"/>
                    <a:gd name="T9" fmla="*/ 48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6" h="48">
                      <a:moveTo>
                        <a:pt x="57" y="48"/>
                      </a:moveTo>
                      <a:lnTo>
                        <a:pt x="0" y="28"/>
                      </a:lnTo>
                      <a:lnTo>
                        <a:pt x="9" y="0"/>
                      </a:lnTo>
                      <a:lnTo>
                        <a:pt x="66" y="19"/>
                      </a:lnTo>
                      <a:lnTo>
                        <a:pt x="57" y="48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49" name="Freeform 271">
                  <a:extLst>
                    <a:ext uri="{FF2B5EF4-FFF2-40B4-BE49-F238E27FC236}">
                      <a16:creationId xmlns:a16="http://schemas.microsoft.com/office/drawing/2014/main" id="{25BBFA28-CF4E-4B44-8A5A-FD93F243A23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651751" y="2974976"/>
                  <a:ext cx="100013" cy="58738"/>
                </a:xfrm>
                <a:custGeom>
                  <a:avLst/>
                  <a:gdLst>
                    <a:gd name="T0" fmla="*/ 60 w 63"/>
                    <a:gd name="T1" fmla="*/ 37 h 37"/>
                    <a:gd name="T2" fmla="*/ 0 w 63"/>
                    <a:gd name="T3" fmla="*/ 31 h 37"/>
                    <a:gd name="T4" fmla="*/ 4 w 63"/>
                    <a:gd name="T5" fmla="*/ 0 h 37"/>
                    <a:gd name="T6" fmla="*/ 63 w 63"/>
                    <a:gd name="T7" fmla="*/ 7 h 37"/>
                    <a:gd name="T8" fmla="*/ 60 w 63"/>
                    <a:gd name="T9" fmla="*/ 37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3" h="37">
                      <a:moveTo>
                        <a:pt x="60" y="37"/>
                      </a:moveTo>
                      <a:lnTo>
                        <a:pt x="0" y="31"/>
                      </a:lnTo>
                      <a:lnTo>
                        <a:pt x="4" y="0"/>
                      </a:lnTo>
                      <a:lnTo>
                        <a:pt x="63" y="7"/>
                      </a:lnTo>
                      <a:lnTo>
                        <a:pt x="60" y="37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50" name="Freeform 272">
                  <a:extLst>
                    <a:ext uri="{FF2B5EF4-FFF2-40B4-BE49-F238E27FC236}">
                      <a16:creationId xmlns:a16="http://schemas.microsoft.com/office/drawing/2014/main" id="{7A84640E-2B53-4CC9-9204-FB7F96CBC07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651751" y="3157538"/>
                  <a:ext cx="100013" cy="58738"/>
                </a:xfrm>
                <a:custGeom>
                  <a:avLst/>
                  <a:gdLst>
                    <a:gd name="T0" fmla="*/ 4 w 63"/>
                    <a:gd name="T1" fmla="*/ 37 h 37"/>
                    <a:gd name="T2" fmla="*/ 0 w 63"/>
                    <a:gd name="T3" fmla="*/ 7 h 37"/>
                    <a:gd name="T4" fmla="*/ 60 w 63"/>
                    <a:gd name="T5" fmla="*/ 0 h 37"/>
                    <a:gd name="T6" fmla="*/ 63 w 63"/>
                    <a:gd name="T7" fmla="*/ 31 h 37"/>
                    <a:gd name="T8" fmla="*/ 4 w 63"/>
                    <a:gd name="T9" fmla="*/ 37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3" h="37">
                      <a:moveTo>
                        <a:pt x="4" y="37"/>
                      </a:moveTo>
                      <a:lnTo>
                        <a:pt x="0" y="7"/>
                      </a:lnTo>
                      <a:lnTo>
                        <a:pt x="60" y="0"/>
                      </a:lnTo>
                      <a:lnTo>
                        <a:pt x="63" y="31"/>
                      </a:lnTo>
                      <a:lnTo>
                        <a:pt x="4" y="37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51" name="Freeform 273">
                  <a:extLst>
                    <a:ext uri="{FF2B5EF4-FFF2-40B4-BE49-F238E27FC236}">
                      <a16:creationId xmlns:a16="http://schemas.microsoft.com/office/drawing/2014/main" id="{C6794764-EA44-4A35-B42E-D05D12C03F8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688263" y="3327401"/>
                  <a:ext cx="104775" cy="76200"/>
                </a:xfrm>
                <a:custGeom>
                  <a:avLst/>
                  <a:gdLst>
                    <a:gd name="T0" fmla="*/ 9 w 66"/>
                    <a:gd name="T1" fmla="*/ 48 h 48"/>
                    <a:gd name="T2" fmla="*/ 0 w 66"/>
                    <a:gd name="T3" fmla="*/ 19 h 48"/>
                    <a:gd name="T4" fmla="*/ 57 w 66"/>
                    <a:gd name="T5" fmla="*/ 0 h 48"/>
                    <a:gd name="T6" fmla="*/ 66 w 66"/>
                    <a:gd name="T7" fmla="*/ 30 h 48"/>
                    <a:gd name="T8" fmla="*/ 9 w 66"/>
                    <a:gd name="T9" fmla="*/ 48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6" h="48">
                      <a:moveTo>
                        <a:pt x="9" y="48"/>
                      </a:moveTo>
                      <a:lnTo>
                        <a:pt x="0" y="19"/>
                      </a:lnTo>
                      <a:lnTo>
                        <a:pt x="57" y="0"/>
                      </a:lnTo>
                      <a:lnTo>
                        <a:pt x="66" y="30"/>
                      </a:lnTo>
                      <a:lnTo>
                        <a:pt x="9" y="48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52" name="Freeform 274">
                  <a:extLst>
                    <a:ext uri="{FF2B5EF4-FFF2-40B4-BE49-F238E27FC236}">
                      <a16:creationId xmlns:a16="http://schemas.microsoft.com/office/drawing/2014/main" id="{ECABC25A-4518-4111-9BA8-1DD818093C7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761288" y="3486151"/>
                  <a:ext cx="106363" cy="92075"/>
                </a:xfrm>
                <a:custGeom>
                  <a:avLst/>
                  <a:gdLst>
                    <a:gd name="T0" fmla="*/ 15 w 67"/>
                    <a:gd name="T1" fmla="*/ 58 h 58"/>
                    <a:gd name="T2" fmla="*/ 0 w 67"/>
                    <a:gd name="T3" fmla="*/ 30 h 58"/>
                    <a:gd name="T4" fmla="*/ 52 w 67"/>
                    <a:gd name="T5" fmla="*/ 0 h 58"/>
                    <a:gd name="T6" fmla="*/ 67 w 67"/>
                    <a:gd name="T7" fmla="*/ 26 h 58"/>
                    <a:gd name="T8" fmla="*/ 15 w 67"/>
                    <a:gd name="T9" fmla="*/ 58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7" h="58">
                      <a:moveTo>
                        <a:pt x="15" y="58"/>
                      </a:moveTo>
                      <a:lnTo>
                        <a:pt x="0" y="30"/>
                      </a:lnTo>
                      <a:lnTo>
                        <a:pt x="52" y="0"/>
                      </a:lnTo>
                      <a:lnTo>
                        <a:pt x="67" y="26"/>
                      </a:lnTo>
                      <a:lnTo>
                        <a:pt x="15" y="58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53" name="Freeform 275">
                  <a:extLst>
                    <a:ext uri="{FF2B5EF4-FFF2-40B4-BE49-F238E27FC236}">
                      <a16:creationId xmlns:a16="http://schemas.microsoft.com/office/drawing/2014/main" id="{973AFCC4-A50F-4B89-9F66-FAF5189135C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870826" y="3627438"/>
                  <a:ext cx="101600" cy="100013"/>
                </a:xfrm>
                <a:custGeom>
                  <a:avLst/>
                  <a:gdLst>
                    <a:gd name="T0" fmla="*/ 20 w 64"/>
                    <a:gd name="T1" fmla="*/ 63 h 63"/>
                    <a:gd name="T2" fmla="*/ 0 w 64"/>
                    <a:gd name="T3" fmla="*/ 41 h 63"/>
                    <a:gd name="T4" fmla="*/ 44 w 64"/>
                    <a:gd name="T5" fmla="*/ 0 h 63"/>
                    <a:gd name="T6" fmla="*/ 64 w 64"/>
                    <a:gd name="T7" fmla="*/ 24 h 63"/>
                    <a:gd name="T8" fmla="*/ 20 w 64"/>
                    <a:gd name="T9" fmla="*/ 63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4" h="63">
                      <a:moveTo>
                        <a:pt x="20" y="63"/>
                      </a:moveTo>
                      <a:lnTo>
                        <a:pt x="0" y="41"/>
                      </a:lnTo>
                      <a:lnTo>
                        <a:pt x="44" y="0"/>
                      </a:lnTo>
                      <a:lnTo>
                        <a:pt x="64" y="24"/>
                      </a:lnTo>
                      <a:lnTo>
                        <a:pt x="20" y="6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54" name="Freeform 276">
                  <a:extLst>
                    <a:ext uri="{FF2B5EF4-FFF2-40B4-BE49-F238E27FC236}">
                      <a16:creationId xmlns:a16="http://schemas.microsoft.com/office/drawing/2014/main" id="{045645C6-3246-40C3-8BB4-A7D1CC944CB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008938" y="3748088"/>
                  <a:ext cx="96838" cy="106363"/>
                </a:xfrm>
                <a:custGeom>
                  <a:avLst/>
                  <a:gdLst>
                    <a:gd name="T0" fmla="*/ 26 w 61"/>
                    <a:gd name="T1" fmla="*/ 67 h 67"/>
                    <a:gd name="T2" fmla="*/ 0 w 61"/>
                    <a:gd name="T3" fmla="*/ 48 h 67"/>
                    <a:gd name="T4" fmla="*/ 37 w 61"/>
                    <a:gd name="T5" fmla="*/ 0 h 67"/>
                    <a:gd name="T6" fmla="*/ 61 w 61"/>
                    <a:gd name="T7" fmla="*/ 17 h 67"/>
                    <a:gd name="T8" fmla="*/ 26 w 61"/>
                    <a:gd name="T9" fmla="*/ 67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1" h="67">
                      <a:moveTo>
                        <a:pt x="26" y="67"/>
                      </a:moveTo>
                      <a:lnTo>
                        <a:pt x="0" y="48"/>
                      </a:lnTo>
                      <a:lnTo>
                        <a:pt x="37" y="0"/>
                      </a:lnTo>
                      <a:lnTo>
                        <a:pt x="61" y="17"/>
                      </a:lnTo>
                      <a:lnTo>
                        <a:pt x="26" y="67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3BFBFF1D-6A37-45C6-ACD9-C2169BB03779}"/>
                </a:ext>
              </a:extLst>
            </p:cNvPr>
            <p:cNvSpPr/>
            <p:nvPr/>
          </p:nvSpPr>
          <p:spPr>
            <a:xfrm>
              <a:off x="6953285" y="4801999"/>
              <a:ext cx="1476883" cy="149766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endParaRPr>
            </a:p>
          </p:txBody>
        </p:sp>
      </p:grp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F04A6D5B-C512-43F6-8853-D13870CA10B3}"/>
              </a:ext>
            </a:extLst>
          </p:cNvPr>
          <p:cNvCxnSpPr>
            <a:cxnSpLocks/>
            <a:stCxn id="7" idx="56"/>
          </p:cNvCxnSpPr>
          <p:nvPr userDrawn="1"/>
        </p:nvCxnSpPr>
        <p:spPr>
          <a:xfrm>
            <a:off x="8922139" y="4968552"/>
            <a:ext cx="3269861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0358A89B-C4A0-4BF6-A7C2-3F1B9632BFBB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4628982"/>
            <a:ext cx="7894216" cy="80992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 Placeholder 58">
            <a:extLst>
              <a:ext uri="{FF2B5EF4-FFF2-40B4-BE49-F238E27FC236}">
                <a16:creationId xmlns:a16="http://schemas.microsoft.com/office/drawing/2014/main" id="{D8A7A6F7-5F58-448E-ABB3-AECDCAC6588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52500" y="1206500"/>
            <a:ext cx="5337175" cy="2257425"/>
          </a:xfrm>
        </p:spPr>
        <p:txBody>
          <a:bodyPr/>
          <a:lstStyle>
            <a:lvl1pPr marL="0" indent="0">
              <a:buNone/>
              <a:defRPr sz="6600">
                <a:latin typeface="Open Sans" panose="020B0606030504020204" pitchFamily="34" charset="0"/>
              </a:defRPr>
            </a:lvl1pPr>
          </a:lstStyle>
          <a:p>
            <a:pPr lvl="0"/>
            <a:r>
              <a:rPr lang="en-US" sz="6600">
                <a:latin typeface="+mj-lt"/>
              </a:rPr>
              <a:t>Section Header</a:t>
            </a:r>
            <a:endParaRPr lang="en-US"/>
          </a:p>
        </p:txBody>
      </p:sp>
      <p:sp>
        <p:nvSpPr>
          <p:cNvPr id="57" name="Text Placeholder 7">
            <a:extLst>
              <a:ext uri="{FF2B5EF4-FFF2-40B4-BE49-F238E27FC236}">
                <a16:creationId xmlns:a16="http://schemas.microsoft.com/office/drawing/2014/main" id="{10D47838-A114-4584-8EDC-C22A40CFB3B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057884" y="219411"/>
            <a:ext cx="1635171" cy="237789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Insert Breadcrumbs</a:t>
            </a:r>
          </a:p>
        </p:txBody>
      </p:sp>
    </p:spTree>
    <p:extLst>
      <p:ext uri="{BB962C8B-B14F-4D97-AF65-F5344CB8AC3E}">
        <p14:creationId xmlns:p14="http://schemas.microsoft.com/office/powerpoint/2010/main" val="1101010630"/>
      </p:ext>
    </p:extLst>
  </p:cSld>
  <p:clrMapOvr>
    <a:masterClrMapping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lank, No Background Graph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EFC2F98-5944-4C9B-A2C3-BF4DC0C7C3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98962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1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EFC2F98-5944-4C9B-A2C3-BF4DC0C7C3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ECBEBFCC-5269-4CD6-8F8D-5061B7F5FB7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057884" y="219411"/>
            <a:ext cx="1635171" cy="237789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Insert Breadcrumbs</a:t>
            </a:r>
          </a:p>
        </p:txBody>
      </p:sp>
    </p:spTree>
    <p:extLst>
      <p:ext uri="{BB962C8B-B14F-4D97-AF65-F5344CB8AC3E}">
        <p14:creationId xmlns:p14="http://schemas.microsoft.com/office/powerpoint/2010/main" val="1555233982"/>
      </p:ext>
    </p:extLst>
  </p:cSld>
  <p:clrMapOvr>
    <a:masterClrMapping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C60EA57D-77F7-4F9A-8AEB-69A85A74F72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057884" y="219411"/>
            <a:ext cx="1635171" cy="237789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Insert Breadcrumbs</a:t>
            </a:r>
          </a:p>
        </p:txBody>
      </p:sp>
    </p:spTree>
    <p:extLst>
      <p:ext uri="{BB962C8B-B14F-4D97-AF65-F5344CB8AC3E}">
        <p14:creationId xmlns:p14="http://schemas.microsoft.com/office/powerpoint/2010/main" val="1712171289"/>
      </p:ext>
    </p:extLst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8EE0971B-02A5-495B-B349-8BC94164BEF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057884" y="219411"/>
            <a:ext cx="1635171" cy="237789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Insert Breadcrumbs</a:t>
            </a:r>
          </a:p>
        </p:txBody>
      </p:sp>
    </p:spTree>
    <p:extLst>
      <p:ext uri="{BB962C8B-B14F-4D97-AF65-F5344CB8AC3E}">
        <p14:creationId xmlns:p14="http://schemas.microsoft.com/office/powerpoint/2010/main" val="2968479293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694944"/>
            <a:ext cx="10363200" cy="594360"/>
          </a:xfrm>
        </p:spPr>
        <p:txBody>
          <a:bodyPr vert="horz" lIns="0" tIns="45720" rIns="0" bIns="0" rtlCol="0" anchor="b" anchorCtr="0">
            <a:noAutofit/>
          </a:bodyPr>
          <a:lstStyle>
            <a:lvl1pPr>
              <a:defRPr lang="en-US" sz="3600" b="0" spc="-75" dirty="0">
                <a:latin typeface="Open Sans" panose="020B0606030504020204" pitchFamily="34" charset="0"/>
              </a:defRPr>
            </a:lvl1pPr>
          </a:lstStyle>
          <a:p>
            <a:pPr lvl="0" defTabSz="685800">
              <a:lnSpc>
                <a:spcPct val="85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BC0778DD-30E0-43DB-BAE1-DAB22CE9132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057884" y="219411"/>
            <a:ext cx="1635171" cy="237789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Insert Breadcrumbs</a:t>
            </a:r>
          </a:p>
        </p:txBody>
      </p:sp>
    </p:spTree>
    <p:extLst>
      <p:ext uri="{BB962C8B-B14F-4D97-AF65-F5344CB8AC3E}">
        <p14:creationId xmlns:p14="http://schemas.microsoft.com/office/powerpoint/2010/main" val="3072457042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, Breadcrumb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694944"/>
            <a:ext cx="10363200" cy="594360"/>
          </a:xfrm>
        </p:spPr>
        <p:txBody>
          <a:bodyPr vert="horz" lIns="0" tIns="45720" rIns="0" bIns="0" rtlCol="0" anchor="b" anchorCtr="0">
            <a:noAutofit/>
          </a:bodyPr>
          <a:lstStyle>
            <a:lvl1pPr>
              <a:defRPr lang="en-US" sz="3600" b="0" spc="-75" dirty="0">
                <a:latin typeface="Open Sans" panose="020B0606030504020204" pitchFamily="34" charset="0"/>
              </a:defRPr>
            </a:lvl1pPr>
          </a:lstStyle>
          <a:p>
            <a:pPr lvl="0" defTabSz="685800">
              <a:lnSpc>
                <a:spcPct val="85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FD545910-EC58-4E59-AC9B-9F096DAB358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4971" y="466344"/>
            <a:ext cx="3355848" cy="203200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900" b="1" kern="0" cap="all" spc="250" baseline="0" dirty="0">
                <a:solidFill>
                  <a:schemeClr val="accent5">
                    <a:lumMod val="60000"/>
                    <a:lumOff val="40000"/>
                  </a:schemeClr>
                </a:solidFill>
                <a:ea typeface="Nexa Black" charset="0"/>
                <a:cs typeface="Nexa Black" charset="0"/>
              </a:defRPr>
            </a:lvl1pPr>
          </a:lstStyle>
          <a:p>
            <a:pPr marL="228600" lvl="0" indent="-228600"/>
            <a:r>
              <a:rPr lang="en-US"/>
              <a:t>BREADCRUMBS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AC026528-FB60-4A16-81FA-EC6E08C4BBF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057884" y="219411"/>
            <a:ext cx="1635171" cy="237789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Insert Breadcrumbs</a:t>
            </a:r>
          </a:p>
        </p:txBody>
      </p:sp>
    </p:spTree>
    <p:extLst>
      <p:ext uri="{BB962C8B-B14F-4D97-AF65-F5344CB8AC3E}">
        <p14:creationId xmlns:p14="http://schemas.microsoft.com/office/powerpoint/2010/main" val="2993924378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, Right, Subhead &amp; Breadcrumb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B912B5A-4EFE-4F10-9322-C971DDF230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167210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5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B912B5A-4EFE-4F10-9322-C971DDF230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CF43516-C935-4785-8727-EA48BADEDCC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hronicle Display Black" pitchFamily="50" charset="0"/>
              <a:sym typeface="Chronicle Display Black" pitchFamily="50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DFAB292-D9D0-4411-8456-90C02DB401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0" y="669544"/>
            <a:ext cx="6137512" cy="38139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838CA61B-8DBB-4395-9E9F-405E5CBF79F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4806950" cy="6858000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accent6"/>
                </a:solidFill>
              </a:defRPr>
            </a:lvl1pPr>
          </a:lstStyle>
          <a:p>
            <a:r>
              <a:rPr lang="en-US"/>
              <a:t>Click to insert pictur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6650516E-641C-4EFA-8CA7-4E0C60B42CE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97500" y="1050936"/>
            <a:ext cx="6137512" cy="381392"/>
          </a:xfrm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sz="1400"/>
              <a:t>Click to edit Master text styles</a:t>
            </a:r>
            <a:endParaRPr lang="en-US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E0280C66-47F5-4458-AA31-95CF3025E37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397500" y="466344"/>
            <a:ext cx="3355848" cy="203200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900" b="1" kern="0" cap="all" spc="250" baseline="0" dirty="0">
                <a:solidFill>
                  <a:schemeClr val="accent5">
                    <a:lumMod val="60000"/>
                    <a:lumOff val="40000"/>
                  </a:schemeClr>
                </a:solidFill>
                <a:ea typeface="Nexa Black" charset="0"/>
                <a:cs typeface="Nexa Black" charset="0"/>
              </a:defRPr>
            </a:lvl1pPr>
          </a:lstStyle>
          <a:p>
            <a:pPr marL="228600" lvl="0" indent="-228600"/>
            <a:r>
              <a:rPr lang="en-US"/>
              <a:t>BREADCRUMBS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410A5467-3BB5-462F-8C79-43A995431DB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057884" y="219411"/>
            <a:ext cx="1635171" cy="237789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Insert Breadcrumbs</a:t>
            </a:r>
          </a:p>
        </p:txBody>
      </p:sp>
    </p:spTree>
    <p:extLst>
      <p:ext uri="{BB962C8B-B14F-4D97-AF65-F5344CB8AC3E}">
        <p14:creationId xmlns:p14="http://schemas.microsoft.com/office/powerpoint/2010/main" val="215779763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Divider">
    <p:bg>
      <p:bgPr>
        <a:solidFill>
          <a:srgbClr val="FDD3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44B521E-45B1-4DF5-AF83-CF81FF72A0A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74366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89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44B521E-45B1-4DF5-AF83-CF81FF72A0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3">
            <a:extLst>
              <a:ext uri="{FF2B5EF4-FFF2-40B4-BE49-F238E27FC236}">
                <a16:creationId xmlns:a16="http://schemas.microsoft.com/office/drawing/2014/main" id="{B9F01BCD-D0E7-4C16-818C-FDF6C61207F4}"/>
              </a:ext>
            </a:extLst>
          </p:cNvPr>
          <p:cNvGrpSpPr/>
          <p:nvPr userDrawn="1"/>
        </p:nvGrpSpPr>
        <p:grpSpPr>
          <a:xfrm>
            <a:off x="6591045" y="2239972"/>
            <a:ext cx="2452738" cy="2728580"/>
            <a:chOff x="6953285" y="3278976"/>
            <a:chExt cx="1506831" cy="1682464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035AD732-4189-4F7D-8A59-BEA1A0C74690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291345" y="3278976"/>
              <a:ext cx="1168771" cy="1682464"/>
              <a:chOff x="5614264" y="2194216"/>
              <a:chExt cx="2755900" cy="3967163"/>
            </a:xfrm>
          </p:grpSpPr>
          <p:sp>
            <p:nvSpPr>
              <p:cNvPr id="7" name="Freeform 55">
                <a:extLst>
                  <a:ext uri="{FF2B5EF4-FFF2-40B4-BE49-F238E27FC236}">
                    <a16:creationId xmlns:a16="http://schemas.microsoft.com/office/drawing/2014/main" id="{4E44469E-381F-4E01-A7CB-1C0D52CCBF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14264" y="2194216"/>
                <a:ext cx="2755900" cy="3967163"/>
              </a:xfrm>
              <a:custGeom>
                <a:avLst/>
                <a:gdLst>
                  <a:gd name="T0" fmla="*/ 1484 w 1736"/>
                  <a:gd name="T1" fmla="*/ 1601 h 2499"/>
                  <a:gd name="T2" fmla="*/ 1675 w 1736"/>
                  <a:gd name="T3" fmla="*/ 999 h 2499"/>
                  <a:gd name="T4" fmla="*/ 1696 w 1736"/>
                  <a:gd name="T5" fmla="*/ 908 h 2499"/>
                  <a:gd name="T6" fmla="*/ 1705 w 1736"/>
                  <a:gd name="T7" fmla="*/ 815 h 2499"/>
                  <a:gd name="T8" fmla="*/ 1705 w 1736"/>
                  <a:gd name="T9" fmla="*/ 745 h 2499"/>
                  <a:gd name="T10" fmla="*/ 1690 w 1736"/>
                  <a:gd name="T11" fmla="*/ 632 h 2499"/>
                  <a:gd name="T12" fmla="*/ 1660 w 1736"/>
                  <a:gd name="T13" fmla="*/ 526 h 2499"/>
                  <a:gd name="T14" fmla="*/ 1614 w 1736"/>
                  <a:gd name="T15" fmla="*/ 424 h 2499"/>
                  <a:gd name="T16" fmla="*/ 1555 w 1736"/>
                  <a:gd name="T17" fmla="*/ 334 h 2499"/>
                  <a:gd name="T18" fmla="*/ 1484 w 1736"/>
                  <a:gd name="T19" fmla="*/ 252 h 2499"/>
                  <a:gd name="T20" fmla="*/ 1403 w 1736"/>
                  <a:gd name="T21" fmla="*/ 180 h 2499"/>
                  <a:gd name="T22" fmla="*/ 1310 w 1736"/>
                  <a:gd name="T23" fmla="*/ 122 h 2499"/>
                  <a:gd name="T24" fmla="*/ 1210 w 1736"/>
                  <a:gd name="T25" fmla="*/ 76 h 2499"/>
                  <a:gd name="T26" fmla="*/ 1103 w 1736"/>
                  <a:gd name="T27" fmla="*/ 46 h 2499"/>
                  <a:gd name="T28" fmla="*/ 990 w 1736"/>
                  <a:gd name="T29" fmla="*/ 32 h 2499"/>
                  <a:gd name="T30" fmla="*/ 914 w 1736"/>
                  <a:gd name="T31" fmla="*/ 32 h 2499"/>
                  <a:gd name="T32" fmla="*/ 801 w 1736"/>
                  <a:gd name="T33" fmla="*/ 46 h 2499"/>
                  <a:gd name="T34" fmla="*/ 693 w 1736"/>
                  <a:gd name="T35" fmla="*/ 76 h 2499"/>
                  <a:gd name="T36" fmla="*/ 593 w 1736"/>
                  <a:gd name="T37" fmla="*/ 122 h 2499"/>
                  <a:gd name="T38" fmla="*/ 500 w 1736"/>
                  <a:gd name="T39" fmla="*/ 180 h 2499"/>
                  <a:gd name="T40" fmla="*/ 419 w 1736"/>
                  <a:gd name="T41" fmla="*/ 252 h 2499"/>
                  <a:gd name="T42" fmla="*/ 349 w 1736"/>
                  <a:gd name="T43" fmla="*/ 334 h 2499"/>
                  <a:gd name="T44" fmla="*/ 289 w 1736"/>
                  <a:gd name="T45" fmla="*/ 424 h 2499"/>
                  <a:gd name="T46" fmla="*/ 243 w 1736"/>
                  <a:gd name="T47" fmla="*/ 526 h 2499"/>
                  <a:gd name="T48" fmla="*/ 213 w 1736"/>
                  <a:gd name="T49" fmla="*/ 632 h 2499"/>
                  <a:gd name="T50" fmla="*/ 198 w 1736"/>
                  <a:gd name="T51" fmla="*/ 745 h 2499"/>
                  <a:gd name="T52" fmla="*/ 197 w 1736"/>
                  <a:gd name="T53" fmla="*/ 882 h 2499"/>
                  <a:gd name="T54" fmla="*/ 265 w 1736"/>
                  <a:gd name="T55" fmla="*/ 1845 h 2499"/>
                  <a:gd name="T56" fmla="*/ 658 w 1736"/>
                  <a:gd name="T57" fmla="*/ 2188 h 2499"/>
                  <a:gd name="T58" fmla="*/ 198 w 1736"/>
                  <a:gd name="T59" fmla="*/ 1391 h 2499"/>
                  <a:gd name="T60" fmla="*/ 167 w 1736"/>
                  <a:gd name="T61" fmla="*/ 784 h 2499"/>
                  <a:gd name="T62" fmla="*/ 172 w 1736"/>
                  <a:gd name="T63" fmla="*/ 704 h 2499"/>
                  <a:gd name="T64" fmla="*/ 193 w 1736"/>
                  <a:gd name="T65" fmla="*/ 589 h 2499"/>
                  <a:gd name="T66" fmla="*/ 230 w 1736"/>
                  <a:gd name="T67" fmla="*/ 480 h 2499"/>
                  <a:gd name="T68" fmla="*/ 282 w 1736"/>
                  <a:gd name="T69" fmla="*/ 378 h 2499"/>
                  <a:gd name="T70" fmla="*/ 347 w 1736"/>
                  <a:gd name="T71" fmla="*/ 285 h 2499"/>
                  <a:gd name="T72" fmla="*/ 424 w 1736"/>
                  <a:gd name="T73" fmla="*/ 204 h 2499"/>
                  <a:gd name="T74" fmla="*/ 513 w 1736"/>
                  <a:gd name="T75" fmla="*/ 133 h 2499"/>
                  <a:gd name="T76" fmla="*/ 612 w 1736"/>
                  <a:gd name="T77" fmla="*/ 78 h 2499"/>
                  <a:gd name="T78" fmla="*/ 719 w 1736"/>
                  <a:gd name="T79" fmla="*/ 35 h 2499"/>
                  <a:gd name="T80" fmla="*/ 832 w 1736"/>
                  <a:gd name="T81" fmla="*/ 9 h 2499"/>
                  <a:gd name="T82" fmla="*/ 953 w 1736"/>
                  <a:gd name="T83" fmla="*/ 0 h 2499"/>
                  <a:gd name="T84" fmla="*/ 1032 w 1736"/>
                  <a:gd name="T85" fmla="*/ 4 h 2499"/>
                  <a:gd name="T86" fmla="*/ 1147 w 1736"/>
                  <a:gd name="T87" fmla="*/ 24 h 2499"/>
                  <a:gd name="T88" fmla="*/ 1256 w 1736"/>
                  <a:gd name="T89" fmla="*/ 61 h 2499"/>
                  <a:gd name="T90" fmla="*/ 1358 w 1736"/>
                  <a:gd name="T91" fmla="*/ 113 h 2499"/>
                  <a:gd name="T92" fmla="*/ 1451 w 1736"/>
                  <a:gd name="T93" fmla="*/ 180 h 2499"/>
                  <a:gd name="T94" fmla="*/ 1532 w 1736"/>
                  <a:gd name="T95" fmla="*/ 258 h 2499"/>
                  <a:gd name="T96" fmla="*/ 1601 w 1736"/>
                  <a:gd name="T97" fmla="*/ 346 h 2499"/>
                  <a:gd name="T98" fmla="*/ 1658 w 1736"/>
                  <a:gd name="T99" fmla="*/ 445 h 2499"/>
                  <a:gd name="T100" fmla="*/ 1701 w 1736"/>
                  <a:gd name="T101" fmla="*/ 552 h 2499"/>
                  <a:gd name="T102" fmla="*/ 1727 w 1736"/>
                  <a:gd name="T103" fmla="*/ 665 h 2499"/>
                  <a:gd name="T104" fmla="*/ 1736 w 1736"/>
                  <a:gd name="T105" fmla="*/ 784 h 2499"/>
                  <a:gd name="T106" fmla="*/ 1733 w 1736"/>
                  <a:gd name="T107" fmla="*/ 849 h 2499"/>
                  <a:gd name="T108" fmla="*/ 1720 w 1736"/>
                  <a:gd name="T109" fmla="*/ 945 h 2499"/>
                  <a:gd name="T110" fmla="*/ 1694 w 1736"/>
                  <a:gd name="T111" fmla="*/ 1038 h 2499"/>
                  <a:gd name="T112" fmla="*/ 1625 w 1736"/>
                  <a:gd name="T113" fmla="*/ 2499 h 24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736" h="2499">
                    <a:moveTo>
                      <a:pt x="1625" y="2499"/>
                    </a:moveTo>
                    <a:lnTo>
                      <a:pt x="1484" y="1603"/>
                    </a:lnTo>
                    <a:lnTo>
                      <a:pt x="1484" y="1601"/>
                    </a:lnTo>
                    <a:lnTo>
                      <a:pt x="1664" y="1028"/>
                    </a:lnTo>
                    <a:lnTo>
                      <a:pt x="1664" y="1028"/>
                    </a:lnTo>
                    <a:lnTo>
                      <a:pt x="1675" y="999"/>
                    </a:lnTo>
                    <a:lnTo>
                      <a:pt x="1683" y="969"/>
                    </a:lnTo>
                    <a:lnTo>
                      <a:pt x="1690" y="939"/>
                    </a:lnTo>
                    <a:lnTo>
                      <a:pt x="1696" y="908"/>
                    </a:lnTo>
                    <a:lnTo>
                      <a:pt x="1699" y="878"/>
                    </a:lnTo>
                    <a:lnTo>
                      <a:pt x="1703" y="847"/>
                    </a:lnTo>
                    <a:lnTo>
                      <a:pt x="1705" y="815"/>
                    </a:lnTo>
                    <a:lnTo>
                      <a:pt x="1705" y="784"/>
                    </a:lnTo>
                    <a:lnTo>
                      <a:pt x="1705" y="784"/>
                    </a:lnTo>
                    <a:lnTo>
                      <a:pt x="1705" y="745"/>
                    </a:lnTo>
                    <a:lnTo>
                      <a:pt x="1701" y="708"/>
                    </a:lnTo>
                    <a:lnTo>
                      <a:pt x="1697" y="669"/>
                    </a:lnTo>
                    <a:lnTo>
                      <a:pt x="1690" y="632"/>
                    </a:lnTo>
                    <a:lnTo>
                      <a:pt x="1683" y="597"/>
                    </a:lnTo>
                    <a:lnTo>
                      <a:pt x="1671" y="560"/>
                    </a:lnTo>
                    <a:lnTo>
                      <a:pt x="1660" y="526"/>
                    </a:lnTo>
                    <a:lnTo>
                      <a:pt x="1645" y="491"/>
                    </a:lnTo>
                    <a:lnTo>
                      <a:pt x="1631" y="458"/>
                    </a:lnTo>
                    <a:lnTo>
                      <a:pt x="1614" y="424"/>
                    </a:lnTo>
                    <a:lnTo>
                      <a:pt x="1595" y="393"/>
                    </a:lnTo>
                    <a:lnTo>
                      <a:pt x="1577" y="363"/>
                    </a:lnTo>
                    <a:lnTo>
                      <a:pt x="1555" y="334"/>
                    </a:lnTo>
                    <a:lnTo>
                      <a:pt x="1532" y="306"/>
                    </a:lnTo>
                    <a:lnTo>
                      <a:pt x="1510" y="278"/>
                    </a:lnTo>
                    <a:lnTo>
                      <a:pt x="1484" y="252"/>
                    </a:lnTo>
                    <a:lnTo>
                      <a:pt x="1458" y="226"/>
                    </a:lnTo>
                    <a:lnTo>
                      <a:pt x="1431" y="202"/>
                    </a:lnTo>
                    <a:lnTo>
                      <a:pt x="1403" y="180"/>
                    </a:lnTo>
                    <a:lnTo>
                      <a:pt x="1373" y="159"/>
                    </a:lnTo>
                    <a:lnTo>
                      <a:pt x="1342" y="139"/>
                    </a:lnTo>
                    <a:lnTo>
                      <a:pt x="1310" y="122"/>
                    </a:lnTo>
                    <a:lnTo>
                      <a:pt x="1279" y="106"/>
                    </a:lnTo>
                    <a:lnTo>
                      <a:pt x="1245" y="89"/>
                    </a:lnTo>
                    <a:lnTo>
                      <a:pt x="1210" y="76"/>
                    </a:lnTo>
                    <a:lnTo>
                      <a:pt x="1175" y="65"/>
                    </a:lnTo>
                    <a:lnTo>
                      <a:pt x="1140" y="54"/>
                    </a:lnTo>
                    <a:lnTo>
                      <a:pt x="1103" y="46"/>
                    </a:lnTo>
                    <a:lnTo>
                      <a:pt x="1066" y="39"/>
                    </a:lnTo>
                    <a:lnTo>
                      <a:pt x="1028" y="35"/>
                    </a:lnTo>
                    <a:lnTo>
                      <a:pt x="990" y="32"/>
                    </a:lnTo>
                    <a:lnTo>
                      <a:pt x="953" y="30"/>
                    </a:lnTo>
                    <a:lnTo>
                      <a:pt x="953" y="30"/>
                    </a:lnTo>
                    <a:lnTo>
                      <a:pt x="914" y="32"/>
                    </a:lnTo>
                    <a:lnTo>
                      <a:pt x="875" y="35"/>
                    </a:lnTo>
                    <a:lnTo>
                      <a:pt x="838" y="39"/>
                    </a:lnTo>
                    <a:lnTo>
                      <a:pt x="801" y="46"/>
                    </a:lnTo>
                    <a:lnTo>
                      <a:pt x="764" y="54"/>
                    </a:lnTo>
                    <a:lnTo>
                      <a:pt x="728" y="65"/>
                    </a:lnTo>
                    <a:lnTo>
                      <a:pt x="693" y="76"/>
                    </a:lnTo>
                    <a:lnTo>
                      <a:pt x="658" y="89"/>
                    </a:lnTo>
                    <a:lnTo>
                      <a:pt x="625" y="106"/>
                    </a:lnTo>
                    <a:lnTo>
                      <a:pt x="593" y="122"/>
                    </a:lnTo>
                    <a:lnTo>
                      <a:pt x="562" y="139"/>
                    </a:lnTo>
                    <a:lnTo>
                      <a:pt x="530" y="159"/>
                    </a:lnTo>
                    <a:lnTo>
                      <a:pt x="500" y="180"/>
                    </a:lnTo>
                    <a:lnTo>
                      <a:pt x="473" y="202"/>
                    </a:lnTo>
                    <a:lnTo>
                      <a:pt x="445" y="226"/>
                    </a:lnTo>
                    <a:lnTo>
                      <a:pt x="419" y="252"/>
                    </a:lnTo>
                    <a:lnTo>
                      <a:pt x="395" y="278"/>
                    </a:lnTo>
                    <a:lnTo>
                      <a:pt x="371" y="306"/>
                    </a:lnTo>
                    <a:lnTo>
                      <a:pt x="349" y="334"/>
                    </a:lnTo>
                    <a:lnTo>
                      <a:pt x="326" y="363"/>
                    </a:lnTo>
                    <a:lnTo>
                      <a:pt x="308" y="393"/>
                    </a:lnTo>
                    <a:lnTo>
                      <a:pt x="289" y="424"/>
                    </a:lnTo>
                    <a:lnTo>
                      <a:pt x="273" y="458"/>
                    </a:lnTo>
                    <a:lnTo>
                      <a:pt x="258" y="491"/>
                    </a:lnTo>
                    <a:lnTo>
                      <a:pt x="243" y="526"/>
                    </a:lnTo>
                    <a:lnTo>
                      <a:pt x="232" y="560"/>
                    </a:lnTo>
                    <a:lnTo>
                      <a:pt x="223" y="597"/>
                    </a:lnTo>
                    <a:lnTo>
                      <a:pt x="213" y="632"/>
                    </a:lnTo>
                    <a:lnTo>
                      <a:pt x="206" y="669"/>
                    </a:lnTo>
                    <a:lnTo>
                      <a:pt x="202" y="708"/>
                    </a:lnTo>
                    <a:lnTo>
                      <a:pt x="198" y="745"/>
                    </a:lnTo>
                    <a:lnTo>
                      <a:pt x="198" y="784"/>
                    </a:lnTo>
                    <a:lnTo>
                      <a:pt x="197" y="878"/>
                    </a:lnTo>
                    <a:lnTo>
                      <a:pt x="197" y="882"/>
                    </a:lnTo>
                    <a:lnTo>
                      <a:pt x="41" y="1360"/>
                    </a:lnTo>
                    <a:lnTo>
                      <a:pt x="226" y="1360"/>
                    </a:lnTo>
                    <a:lnTo>
                      <a:pt x="265" y="1845"/>
                    </a:lnTo>
                    <a:lnTo>
                      <a:pt x="632" y="1801"/>
                    </a:lnTo>
                    <a:lnTo>
                      <a:pt x="688" y="2183"/>
                    </a:lnTo>
                    <a:lnTo>
                      <a:pt x="658" y="2188"/>
                    </a:lnTo>
                    <a:lnTo>
                      <a:pt x="606" y="1834"/>
                    </a:lnTo>
                    <a:lnTo>
                      <a:pt x="237" y="1879"/>
                    </a:lnTo>
                    <a:lnTo>
                      <a:pt x="198" y="1391"/>
                    </a:lnTo>
                    <a:lnTo>
                      <a:pt x="0" y="1391"/>
                    </a:lnTo>
                    <a:lnTo>
                      <a:pt x="167" y="875"/>
                    </a:lnTo>
                    <a:lnTo>
                      <a:pt x="167" y="784"/>
                    </a:lnTo>
                    <a:lnTo>
                      <a:pt x="167" y="784"/>
                    </a:lnTo>
                    <a:lnTo>
                      <a:pt x="169" y="743"/>
                    </a:lnTo>
                    <a:lnTo>
                      <a:pt x="172" y="704"/>
                    </a:lnTo>
                    <a:lnTo>
                      <a:pt x="176" y="665"/>
                    </a:lnTo>
                    <a:lnTo>
                      <a:pt x="184" y="626"/>
                    </a:lnTo>
                    <a:lnTo>
                      <a:pt x="193" y="589"/>
                    </a:lnTo>
                    <a:lnTo>
                      <a:pt x="202" y="552"/>
                    </a:lnTo>
                    <a:lnTo>
                      <a:pt x="215" y="515"/>
                    </a:lnTo>
                    <a:lnTo>
                      <a:pt x="230" y="480"/>
                    </a:lnTo>
                    <a:lnTo>
                      <a:pt x="245" y="445"/>
                    </a:lnTo>
                    <a:lnTo>
                      <a:pt x="263" y="411"/>
                    </a:lnTo>
                    <a:lnTo>
                      <a:pt x="282" y="378"/>
                    </a:lnTo>
                    <a:lnTo>
                      <a:pt x="302" y="346"/>
                    </a:lnTo>
                    <a:lnTo>
                      <a:pt x="324" y="315"/>
                    </a:lnTo>
                    <a:lnTo>
                      <a:pt x="347" y="285"/>
                    </a:lnTo>
                    <a:lnTo>
                      <a:pt x="371" y="258"/>
                    </a:lnTo>
                    <a:lnTo>
                      <a:pt x="397" y="230"/>
                    </a:lnTo>
                    <a:lnTo>
                      <a:pt x="424" y="204"/>
                    </a:lnTo>
                    <a:lnTo>
                      <a:pt x="454" y="180"/>
                    </a:lnTo>
                    <a:lnTo>
                      <a:pt x="484" y="156"/>
                    </a:lnTo>
                    <a:lnTo>
                      <a:pt x="513" y="133"/>
                    </a:lnTo>
                    <a:lnTo>
                      <a:pt x="545" y="113"/>
                    </a:lnTo>
                    <a:lnTo>
                      <a:pt x="578" y="95"/>
                    </a:lnTo>
                    <a:lnTo>
                      <a:pt x="612" y="78"/>
                    </a:lnTo>
                    <a:lnTo>
                      <a:pt x="647" y="61"/>
                    </a:lnTo>
                    <a:lnTo>
                      <a:pt x="682" y="48"/>
                    </a:lnTo>
                    <a:lnTo>
                      <a:pt x="719" y="35"/>
                    </a:lnTo>
                    <a:lnTo>
                      <a:pt x="756" y="24"/>
                    </a:lnTo>
                    <a:lnTo>
                      <a:pt x="793" y="17"/>
                    </a:lnTo>
                    <a:lnTo>
                      <a:pt x="832" y="9"/>
                    </a:lnTo>
                    <a:lnTo>
                      <a:pt x="871" y="4"/>
                    </a:lnTo>
                    <a:lnTo>
                      <a:pt x="912" y="2"/>
                    </a:lnTo>
                    <a:lnTo>
                      <a:pt x="953" y="0"/>
                    </a:lnTo>
                    <a:lnTo>
                      <a:pt x="953" y="0"/>
                    </a:lnTo>
                    <a:lnTo>
                      <a:pt x="991" y="2"/>
                    </a:lnTo>
                    <a:lnTo>
                      <a:pt x="1032" y="4"/>
                    </a:lnTo>
                    <a:lnTo>
                      <a:pt x="1071" y="9"/>
                    </a:lnTo>
                    <a:lnTo>
                      <a:pt x="1110" y="17"/>
                    </a:lnTo>
                    <a:lnTo>
                      <a:pt x="1147" y="24"/>
                    </a:lnTo>
                    <a:lnTo>
                      <a:pt x="1184" y="35"/>
                    </a:lnTo>
                    <a:lnTo>
                      <a:pt x="1221" y="48"/>
                    </a:lnTo>
                    <a:lnTo>
                      <a:pt x="1256" y="61"/>
                    </a:lnTo>
                    <a:lnTo>
                      <a:pt x="1292" y="78"/>
                    </a:lnTo>
                    <a:lnTo>
                      <a:pt x="1325" y="95"/>
                    </a:lnTo>
                    <a:lnTo>
                      <a:pt x="1358" y="113"/>
                    </a:lnTo>
                    <a:lnTo>
                      <a:pt x="1390" y="133"/>
                    </a:lnTo>
                    <a:lnTo>
                      <a:pt x="1421" y="156"/>
                    </a:lnTo>
                    <a:lnTo>
                      <a:pt x="1451" y="180"/>
                    </a:lnTo>
                    <a:lnTo>
                      <a:pt x="1479" y="204"/>
                    </a:lnTo>
                    <a:lnTo>
                      <a:pt x="1507" y="230"/>
                    </a:lnTo>
                    <a:lnTo>
                      <a:pt x="1532" y="258"/>
                    </a:lnTo>
                    <a:lnTo>
                      <a:pt x="1557" y="285"/>
                    </a:lnTo>
                    <a:lnTo>
                      <a:pt x="1581" y="315"/>
                    </a:lnTo>
                    <a:lnTo>
                      <a:pt x="1601" y="346"/>
                    </a:lnTo>
                    <a:lnTo>
                      <a:pt x="1621" y="378"/>
                    </a:lnTo>
                    <a:lnTo>
                      <a:pt x="1642" y="411"/>
                    </a:lnTo>
                    <a:lnTo>
                      <a:pt x="1658" y="445"/>
                    </a:lnTo>
                    <a:lnTo>
                      <a:pt x="1673" y="480"/>
                    </a:lnTo>
                    <a:lnTo>
                      <a:pt x="1688" y="515"/>
                    </a:lnTo>
                    <a:lnTo>
                      <a:pt x="1701" y="552"/>
                    </a:lnTo>
                    <a:lnTo>
                      <a:pt x="1710" y="589"/>
                    </a:lnTo>
                    <a:lnTo>
                      <a:pt x="1720" y="626"/>
                    </a:lnTo>
                    <a:lnTo>
                      <a:pt x="1727" y="665"/>
                    </a:lnTo>
                    <a:lnTo>
                      <a:pt x="1733" y="704"/>
                    </a:lnTo>
                    <a:lnTo>
                      <a:pt x="1734" y="745"/>
                    </a:lnTo>
                    <a:lnTo>
                      <a:pt x="1736" y="784"/>
                    </a:lnTo>
                    <a:lnTo>
                      <a:pt x="1736" y="784"/>
                    </a:lnTo>
                    <a:lnTo>
                      <a:pt x="1734" y="817"/>
                    </a:lnTo>
                    <a:lnTo>
                      <a:pt x="1733" y="849"/>
                    </a:lnTo>
                    <a:lnTo>
                      <a:pt x="1731" y="882"/>
                    </a:lnTo>
                    <a:lnTo>
                      <a:pt x="1725" y="913"/>
                    </a:lnTo>
                    <a:lnTo>
                      <a:pt x="1720" y="945"/>
                    </a:lnTo>
                    <a:lnTo>
                      <a:pt x="1712" y="976"/>
                    </a:lnTo>
                    <a:lnTo>
                      <a:pt x="1703" y="1008"/>
                    </a:lnTo>
                    <a:lnTo>
                      <a:pt x="1694" y="1038"/>
                    </a:lnTo>
                    <a:lnTo>
                      <a:pt x="1516" y="1604"/>
                    </a:lnTo>
                    <a:lnTo>
                      <a:pt x="1657" y="2494"/>
                    </a:lnTo>
                    <a:lnTo>
                      <a:pt x="1625" y="249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grpSp>
            <p:nvGrpSpPr>
              <p:cNvPr id="8" name="Group 7">
                <a:extLst>
                  <a:ext uri="{FF2B5EF4-FFF2-40B4-BE49-F238E27FC236}">
                    <a16:creationId xmlns:a16="http://schemas.microsoft.com/office/drawing/2014/main" id="{1884EB90-856A-4B3D-8C41-380E81E27851}"/>
                  </a:ext>
                </a:extLst>
              </p:cNvPr>
              <p:cNvGrpSpPr/>
              <p:nvPr/>
            </p:nvGrpSpPr>
            <p:grpSpPr>
              <a:xfrm>
                <a:off x="6207989" y="2521241"/>
                <a:ext cx="1833563" cy="3140075"/>
                <a:chOff x="7651751" y="2178051"/>
                <a:chExt cx="1833563" cy="3140075"/>
              </a:xfrm>
            </p:grpSpPr>
            <p:sp>
              <p:nvSpPr>
                <p:cNvPr id="9" name="Rectangle 8">
                  <a:extLst>
                    <a:ext uri="{FF2B5EF4-FFF2-40B4-BE49-F238E27FC236}">
                      <a16:creationId xmlns:a16="http://schemas.microsoft.com/office/drawing/2014/main" id="{5FF9FA55-6F13-46E9-B9A9-A10B60C42CD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4475163"/>
                  <a:ext cx="49213" cy="46038"/>
                </a:xfrm>
                <a:prstGeom prst="rect">
                  <a:avLst/>
                </a:prstGeom>
                <a:solidFill>
                  <a:srgbClr val="52585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0" name="Rectangle 9">
                  <a:extLst>
                    <a:ext uri="{FF2B5EF4-FFF2-40B4-BE49-F238E27FC236}">
                      <a16:creationId xmlns:a16="http://schemas.microsoft.com/office/drawing/2014/main" id="{5E05CB57-E35B-471D-BA9D-6AE183DE802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4575176"/>
                  <a:ext cx="49213" cy="46038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1" name="Rectangle 10">
                  <a:extLst>
                    <a:ext uri="{FF2B5EF4-FFF2-40B4-BE49-F238E27FC236}">
                      <a16:creationId xmlns:a16="http://schemas.microsoft.com/office/drawing/2014/main" id="{917B6F65-886C-4190-9FA3-150088DB411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4675188"/>
                  <a:ext cx="49213" cy="46038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2" name="Rectangle 11">
                  <a:extLst>
                    <a:ext uri="{FF2B5EF4-FFF2-40B4-BE49-F238E27FC236}">
                      <a16:creationId xmlns:a16="http://schemas.microsoft.com/office/drawing/2014/main" id="{D04EF3EF-7492-4924-B3E4-4CB85BE2936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4775201"/>
                  <a:ext cx="49213" cy="46038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3" name="Rectangle 12">
                  <a:extLst>
                    <a:ext uri="{FF2B5EF4-FFF2-40B4-BE49-F238E27FC236}">
                      <a16:creationId xmlns:a16="http://schemas.microsoft.com/office/drawing/2014/main" id="{DB852891-76E9-4DE8-99BB-C456338C691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4872038"/>
                  <a:ext cx="49213" cy="49213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4" name="Rectangle 13">
                  <a:extLst>
                    <a:ext uri="{FF2B5EF4-FFF2-40B4-BE49-F238E27FC236}">
                      <a16:creationId xmlns:a16="http://schemas.microsoft.com/office/drawing/2014/main" id="{76F966E4-BDBB-4EA2-AF2B-CE2D055C5C0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4972051"/>
                  <a:ext cx="49213" cy="49213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5" name="Rectangle 14">
                  <a:extLst>
                    <a:ext uri="{FF2B5EF4-FFF2-40B4-BE49-F238E27FC236}">
                      <a16:creationId xmlns:a16="http://schemas.microsoft.com/office/drawing/2014/main" id="{47D17988-145F-4083-A8C8-26E7E72E0F0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5072063"/>
                  <a:ext cx="49213" cy="49213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6" name="Rectangle 15">
                  <a:extLst>
                    <a:ext uri="{FF2B5EF4-FFF2-40B4-BE49-F238E27FC236}">
                      <a16:creationId xmlns:a16="http://schemas.microsoft.com/office/drawing/2014/main" id="{6132E3B0-8425-460B-B1F1-FCACFFD24B4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5172076"/>
                  <a:ext cx="49213" cy="49213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7" name="Rectangle 16">
                  <a:extLst>
                    <a:ext uri="{FF2B5EF4-FFF2-40B4-BE49-F238E27FC236}">
                      <a16:creationId xmlns:a16="http://schemas.microsoft.com/office/drawing/2014/main" id="{389052EF-3A92-42FF-A8F5-AE5C61CDE12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5272088"/>
                  <a:ext cx="49213" cy="46038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8" name="Freeform 240">
                  <a:extLst>
                    <a:ext uri="{FF2B5EF4-FFF2-40B4-BE49-F238E27FC236}">
                      <a16:creationId xmlns:a16="http://schemas.microsoft.com/office/drawing/2014/main" id="{2C35CD08-6BC0-4B8B-B687-87817D9AA06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881938" y="2409826"/>
                  <a:ext cx="1373188" cy="1693863"/>
                </a:xfrm>
                <a:custGeom>
                  <a:avLst/>
                  <a:gdLst>
                    <a:gd name="T0" fmla="*/ 434 w 865"/>
                    <a:gd name="T1" fmla="*/ 0 h 1067"/>
                    <a:gd name="T2" fmla="*/ 389 w 865"/>
                    <a:gd name="T3" fmla="*/ 2 h 1067"/>
                    <a:gd name="T4" fmla="*/ 304 w 865"/>
                    <a:gd name="T5" fmla="*/ 19 h 1067"/>
                    <a:gd name="T6" fmla="*/ 226 w 865"/>
                    <a:gd name="T7" fmla="*/ 52 h 1067"/>
                    <a:gd name="T8" fmla="*/ 157 w 865"/>
                    <a:gd name="T9" fmla="*/ 98 h 1067"/>
                    <a:gd name="T10" fmla="*/ 98 w 865"/>
                    <a:gd name="T11" fmla="*/ 158 h 1067"/>
                    <a:gd name="T12" fmla="*/ 52 w 865"/>
                    <a:gd name="T13" fmla="*/ 226 h 1067"/>
                    <a:gd name="T14" fmla="*/ 20 w 865"/>
                    <a:gd name="T15" fmla="*/ 304 h 1067"/>
                    <a:gd name="T16" fmla="*/ 2 w 865"/>
                    <a:gd name="T17" fmla="*/ 387 h 1067"/>
                    <a:gd name="T18" fmla="*/ 0 w 865"/>
                    <a:gd name="T19" fmla="*/ 432 h 1067"/>
                    <a:gd name="T20" fmla="*/ 0 w 865"/>
                    <a:gd name="T21" fmla="*/ 456 h 1067"/>
                    <a:gd name="T22" fmla="*/ 6 w 865"/>
                    <a:gd name="T23" fmla="*/ 502 h 1067"/>
                    <a:gd name="T24" fmla="*/ 15 w 865"/>
                    <a:gd name="T25" fmla="*/ 547 h 1067"/>
                    <a:gd name="T26" fmla="*/ 30 w 865"/>
                    <a:gd name="T27" fmla="*/ 589 h 1067"/>
                    <a:gd name="T28" fmla="*/ 48 w 865"/>
                    <a:gd name="T29" fmla="*/ 630 h 1067"/>
                    <a:gd name="T30" fmla="*/ 70 w 865"/>
                    <a:gd name="T31" fmla="*/ 669 h 1067"/>
                    <a:gd name="T32" fmla="*/ 96 w 865"/>
                    <a:gd name="T33" fmla="*/ 704 h 1067"/>
                    <a:gd name="T34" fmla="*/ 141 w 865"/>
                    <a:gd name="T35" fmla="*/ 752 h 1067"/>
                    <a:gd name="T36" fmla="*/ 154 w 865"/>
                    <a:gd name="T37" fmla="*/ 763 h 1067"/>
                    <a:gd name="T38" fmla="*/ 178 w 865"/>
                    <a:gd name="T39" fmla="*/ 787 h 1067"/>
                    <a:gd name="T40" fmla="*/ 219 w 865"/>
                    <a:gd name="T41" fmla="*/ 843 h 1067"/>
                    <a:gd name="T42" fmla="*/ 246 w 865"/>
                    <a:gd name="T43" fmla="*/ 906 h 1067"/>
                    <a:gd name="T44" fmla="*/ 261 w 865"/>
                    <a:gd name="T45" fmla="*/ 975 h 1067"/>
                    <a:gd name="T46" fmla="*/ 263 w 865"/>
                    <a:gd name="T47" fmla="*/ 1067 h 1067"/>
                    <a:gd name="T48" fmla="*/ 602 w 865"/>
                    <a:gd name="T49" fmla="*/ 1067 h 1067"/>
                    <a:gd name="T50" fmla="*/ 602 w 865"/>
                    <a:gd name="T51" fmla="*/ 1012 h 1067"/>
                    <a:gd name="T52" fmla="*/ 610 w 865"/>
                    <a:gd name="T53" fmla="*/ 939 h 1067"/>
                    <a:gd name="T54" fmla="*/ 632 w 865"/>
                    <a:gd name="T55" fmla="*/ 873 h 1067"/>
                    <a:gd name="T56" fmla="*/ 667 w 865"/>
                    <a:gd name="T57" fmla="*/ 813 h 1067"/>
                    <a:gd name="T58" fmla="*/ 711 w 865"/>
                    <a:gd name="T59" fmla="*/ 763 h 1067"/>
                    <a:gd name="T60" fmla="*/ 724 w 865"/>
                    <a:gd name="T61" fmla="*/ 752 h 1067"/>
                    <a:gd name="T62" fmla="*/ 756 w 865"/>
                    <a:gd name="T63" fmla="*/ 721 h 1067"/>
                    <a:gd name="T64" fmla="*/ 784 w 865"/>
                    <a:gd name="T65" fmla="*/ 686 h 1067"/>
                    <a:gd name="T66" fmla="*/ 808 w 865"/>
                    <a:gd name="T67" fmla="*/ 648 h 1067"/>
                    <a:gd name="T68" fmla="*/ 828 w 865"/>
                    <a:gd name="T69" fmla="*/ 610 h 1067"/>
                    <a:gd name="T70" fmla="*/ 843 w 865"/>
                    <a:gd name="T71" fmla="*/ 569 h 1067"/>
                    <a:gd name="T72" fmla="*/ 856 w 865"/>
                    <a:gd name="T73" fmla="*/ 524 h 1067"/>
                    <a:gd name="T74" fmla="*/ 863 w 865"/>
                    <a:gd name="T75" fmla="*/ 480 h 1067"/>
                    <a:gd name="T76" fmla="*/ 865 w 865"/>
                    <a:gd name="T77" fmla="*/ 432 h 1067"/>
                    <a:gd name="T78" fmla="*/ 865 w 865"/>
                    <a:gd name="T79" fmla="*/ 409 h 1067"/>
                    <a:gd name="T80" fmla="*/ 856 w 865"/>
                    <a:gd name="T81" fmla="*/ 345 h 1067"/>
                    <a:gd name="T82" fmla="*/ 832 w 865"/>
                    <a:gd name="T83" fmla="*/ 263 h 1067"/>
                    <a:gd name="T84" fmla="*/ 791 w 865"/>
                    <a:gd name="T85" fmla="*/ 191 h 1067"/>
                    <a:gd name="T86" fmla="*/ 739 w 865"/>
                    <a:gd name="T87" fmla="*/ 126 h 1067"/>
                    <a:gd name="T88" fmla="*/ 674 w 865"/>
                    <a:gd name="T89" fmla="*/ 74 h 1067"/>
                    <a:gd name="T90" fmla="*/ 600 w 865"/>
                    <a:gd name="T91" fmla="*/ 33 h 1067"/>
                    <a:gd name="T92" fmla="*/ 521 w 865"/>
                    <a:gd name="T93" fmla="*/ 7 h 1067"/>
                    <a:gd name="T94" fmla="*/ 456 w 865"/>
                    <a:gd name="T95" fmla="*/ 0 h 1067"/>
                    <a:gd name="T96" fmla="*/ 434 w 865"/>
                    <a:gd name="T97" fmla="*/ 0 h 10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865" h="1067">
                      <a:moveTo>
                        <a:pt x="434" y="0"/>
                      </a:moveTo>
                      <a:lnTo>
                        <a:pt x="434" y="0"/>
                      </a:lnTo>
                      <a:lnTo>
                        <a:pt x="411" y="0"/>
                      </a:lnTo>
                      <a:lnTo>
                        <a:pt x="389" y="2"/>
                      </a:lnTo>
                      <a:lnTo>
                        <a:pt x="345" y="7"/>
                      </a:lnTo>
                      <a:lnTo>
                        <a:pt x="304" y="19"/>
                      </a:lnTo>
                      <a:lnTo>
                        <a:pt x="265" y="33"/>
                      </a:lnTo>
                      <a:lnTo>
                        <a:pt x="226" y="52"/>
                      </a:lnTo>
                      <a:lnTo>
                        <a:pt x="191" y="74"/>
                      </a:lnTo>
                      <a:lnTo>
                        <a:pt x="157" y="98"/>
                      </a:lnTo>
                      <a:lnTo>
                        <a:pt x="126" y="126"/>
                      </a:lnTo>
                      <a:lnTo>
                        <a:pt x="98" y="158"/>
                      </a:lnTo>
                      <a:lnTo>
                        <a:pt x="74" y="191"/>
                      </a:lnTo>
                      <a:lnTo>
                        <a:pt x="52" y="226"/>
                      </a:lnTo>
                      <a:lnTo>
                        <a:pt x="33" y="263"/>
                      </a:lnTo>
                      <a:lnTo>
                        <a:pt x="20" y="304"/>
                      </a:lnTo>
                      <a:lnTo>
                        <a:pt x="9" y="345"/>
                      </a:lnTo>
                      <a:lnTo>
                        <a:pt x="2" y="387"/>
                      </a:lnTo>
                      <a:lnTo>
                        <a:pt x="0" y="409"/>
                      </a:lnTo>
                      <a:lnTo>
                        <a:pt x="0" y="432"/>
                      </a:lnTo>
                      <a:lnTo>
                        <a:pt x="0" y="432"/>
                      </a:lnTo>
                      <a:lnTo>
                        <a:pt x="0" y="456"/>
                      </a:lnTo>
                      <a:lnTo>
                        <a:pt x="2" y="480"/>
                      </a:lnTo>
                      <a:lnTo>
                        <a:pt x="6" y="502"/>
                      </a:lnTo>
                      <a:lnTo>
                        <a:pt x="9" y="524"/>
                      </a:lnTo>
                      <a:lnTo>
                        <a:pt x="15" y="547"/>
                      </a:lnTo>
                      <a:lnTo>
                        <a:pt x="22" y="569"/>
                      </a:lnTo>
                      <a:lnTo>
                        <a:pt x="30" y="589"/>
                      </a:lnTo>
                      <a:lnTo>
                        <a:pt x="39" y="610"/>
                      </a:lnTo>
                      <a:lnTo>
                        <a:pt x="48" y="630"/>
                      </a:lnTo>
                      <a:lnTo>
                        <a:pt x="59" y="648"/>
                      </a:lnTo>
                      <a:lnTo>
                        <a:pt x="70" y="669"/>
                      </a:lnTo>
                      <a:lnTo>
                        <a:pt x="83" y="686"/>
                      </a:lnTo>
                      <a:lnTo>
                        <a:pt x="96" y="704"/>
                      </a:lnTo>
                      <a:lnTo>
                        <a:pt x="109" y="721"/>
                      </a:lnTo>
                      <a:lnTo>
                        <a:pt x="141" y="752"/>
                      </a:lnTo>
                      <a:lnTo>
                        <a:pt x="141" y="752"/>
                      </a:lnTo>
                      <a:lnTo>
                        <a:pt x="154" y="763"/>
                      </a:lnTo>
                      <a:lnTo>
                        <a:pt x="154" y="763"/>
                      </a:lnTo>
                      <a:lnTo>
                        <a:pt x="178" y="787"/>
                      </a:lnTo>
                      <a:lnTo>
                        <a:pt x="200" y="813"/>
                      </a:lnTo>
                      <a:lnTo>
                        <a:pt x="219" y="843"/>
                      </a:lnTo>
                      <a:lnTo>
                        <a:pt x="233" y="873"/>
                      </a:lnTo>
                      <a:lnTo>
                        <a:pt x="246" y="906"/>
                      </a:lnTo>
                      <a:lnTo>
                        <a:pt x="256" y="939"/>
                      </a:lnTo>
                      <a:lnTo>
                        <a:pt x="261" y="975"/>
                      </a:lnTo>
                      <a:lnTo>
                        <a:pt x="263" y="1012"/>
                      </a:lnTo>
                      <a:lnTo>
                        <a:pt x="263" y="1067"/>
                      </a:lnTo>
                      <a:lnTo>
                        <a:pt x="434" y="1067"/>
                      </a:lnTo>
                      <a:lnTo>
                        <a:pt x="602" y="1067"/>
                      </a:lnTo>
                      <a:lnTo>
                        <a:pt x="602" y="1012"/>
                      </a:lnTo>
                      <a:lnTo>
                        <a:pt x="602" y="1012"/>
                      </a:lnTo>
                      <a:lnTo>
                        <a:pt x="604" y="975"/>
                      </a:lnTo>
                      <a:lnTo>
                        <a:pt x="610" y="939"/>
                      </a:lnTo>
                      <a:lnTo>
                        <a:pt x="619" y="906"/>
                      </a:lnTo>
                      <a:lnTo>
                        <a:pt x="632" y="873"/>
                      </a:lnTo>
                      <a:lnTo>
                        <a:pt x="647" y="843"/>
                      </a:lnTo>
                      <a:lnTo>
                        <a:pt x="667" y="813"/>
                      </a:lnTo>
                      <a:lnTo>
                        <a:pt x="687" y="787"/>
                      </a:lnTo>
                      <a:lnTo>
                        <a:pt x="711" y="763"/>
                      </a:lnTo>
                      <a:lnTo>
                        <a:pt x="711" y="763"/>
                      </a:lnTo>
                      <a:lnTo>
                        <a:pt x="724" y="752"/>
                      </a:lnTo>
                      <a:lnTo>
                        <a:pt x="724" y="752"/>
                      </a:lnTo>
                      <a:lnTo>
                        <a:pt x="756" y="721"/>
                      </a:lnTo>
                      <a:lnTo>
                        <a:pt x="769" y="704"/>
                      </a:lnTo>
                      <a:lnTo>
                        <a:pt x="784" y="686"/>
                      </a:lnTo>
                      <a:lnTo>
                        <a:pt x="795" y="669"/>
                      </a:lnTo>
                      <a:lnTo>
                        <a:pt x="808" y="648"/>
                      </a:lnTo>
                      <a:lnTo>
                        <a:pt x="817" y="630"/>
                      </a:lnTo>
                      <a:lnTo>
                        <a:pt x="828" y="610"/>
                      </a:lnTo>
                      <a:lnTo>
                        <a:pt x="836" y="589"/>
                      </a:lnTo>
                      <a:lnTo>
                        <a:pt x="843" y="569"/>
                      </a:lnTo>
                      <a:lnTo>
                        <a:pt x="850" y="547"/>
                      </a:lnTo>
                      <a:lnTo>
                        <a:pt x="856" y="524"/>
                      </a:lnTo>
                      <a:lnTo>
                        <a:pt x="860" y="502"/>
                      </a:lnTo>
                      <a:lnTo>
                        <a:pt x="863" y="480"/>
                      </a:lnTo>
                      <a:lnTo>
                        <a:pt x="865" y="456"/>
                      </a:lnTo>
                      <a:lnTo>
                        <a:pt x="865" y="432"/>
                      </a:lnTo>
                      <a:lnTo>
                        <a:pt x="865" y="432"/>
                      </a:lnTo>
                      <a:lnTo>
                        <a:pt x="865" y="409"/>
                      </a:lnTo>
                      <a:lnTo>
                        <a:pt x="863" y="387"/>
                      </a:lnTo>
                      <a:lnTo>
                        <a:pt x="856" y="345"/>
                      </a:lnTo>
                      <a:lnTo>
                        <a:pt x="847" y="304"/>
                      </a:lnTo>
                      <a:lnTo>
                        <a:pt x="832" y="263"/>
                      </a:lnTo>
                      <a:lnTo>
                        <a:pt x="813" y="226"/>
                      </a:lnTo>
                      <a:lnTo>
                        <a:pt x="791" y="191"/>
                      </a:lnTo>
                      <a:lnTo>
                        <a:pt x="767" y="158"/>
                      </a:lnTo>
                      <a:lnTo>
                        <a:pt x="739" y="126"/>
                      </a:lnTo>
                      <a:lnTo>
                        <a:pt x="708" y="98"/>
                      </a:lnTo>
                      <a:lnTo>
                        <a:pt x="674" y="74"/>
                      </a:lnTo>
                      <a:lnTo>
                        <a:pt x="639" y="52"/>
                      </a:lnTo>
                      <a:lnTo>
                        <a:pt x="600" y="33"/>
                      </a:lnTo>
                      <a:lnTo>
                        <a:pt x="561" y="19"/>
                      </a:lnTo>
                      <a:lnTo>
                        <a:pt x="521" y="7"/>
                      </a:lnTo>
                      <a:lnTo>
                        <a:pt x="476" y="2"/>
                      </a:lnTo>
                      <a:lnTo>
                        <a:pt x="456" y="0"/>
                      </a:lnTo>
                      <a:lnTo>
                        <a:pt x="434" y="0"/>
                      </a:lnTo>
                      <a:lnTo>
                        <a:pt x="434" y="0"/>
                      </a:lnTo>
                      <a:close/>
                    </a:path>
                  </a:pathLst>
                </a:custGeom>
                <a:solidFill>
                  <a:srgbClr val="FDD300"/>
                </a:solidFill>
                <a:ln w="222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9" name="Freeform 241">
                  <a:extLst>
                    <a:ext uri="{FF2B5EF4-FFF2-40B4-BE49-F238E27FC236}">
                      <a16:creationId xmlns:a16="http://schemas.microsoft.com/office/drawing/2014/main" id="{48363F46-C1B1-4332-8335-A2F8F0FAF7A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275638" y="4079876"/>
                  <a:ext cx="585788" cy="333375"/>
                </a:xfrm>
                <a:custGeom>
                  <a:avLst/>
                  <a:gdLst>
                    <a:gd name="T0" fmla="*/ 369 w 369"/>
                    <a:gd name="T1" fmla="*/ 210 h 210"/>
                    <a:gd name="T2" fmla="*/ 0 w 369"/>
                    <a:gd name="T3" fmla="*/ 210 h 210"/>
                    <a:gd name="T4" fmla="*/ 0 w 369"/>
                    <a:gd name="T5" fmla="*/ 0 h 210"/>
                    <a:gd name="T6" fmla="*/ 369 w 369"/>
                    <a:gd name="T7" fmla="*/ 0 h 210"/>
                    <a:gd name="T8" fmla="*/ 369 w 369"/>
                    <a:gd name="T9" fmla="*/ 210 h 210"/>
                    <a:gd name="T10" fmla="*/ 30 w 369"/>
                    <a:gd name="T11" fmla="*/ 180 h 210"/>
                    <a:gd name="T12" fmla="*/ 339 w 369"/>
                    <a:gd name="T13" fmla="*/ 180 h 210"/>
                    <a:gd name="T14" fmla="*/ 339 w 369"/>
                    <a:gd name="T15" fmla="*/ 32 h 210"/>
                    <a:gd name="T16" fmla="*/ 30 w 369"/>
                    <a:gd name="T17" fmla="*/ 32 h 210"/>
                    <a:gd name="T18" fmla="*/ 30 w 369"/>
                    <a:gd name="T19" fmla="*/ 180 h 2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69" h="210">
                      <a:moveTo>
                        <a:pt x="369" y="210"/>
                      </a:moveTo>
                      <a:lnTo>
                        <a:pt x="0" y="210"/>
                      </a:lnTo>
                      <a:lnTo>
                        <a:pt x="0" y="0"/>
                      </a:lnTo>
                      <a:lnTo>
                        <a:pt x="369" y="0"/>
                      </a:lnTo>
                      <a:lnTo>
                        <a:pt x="369" y="210"/>
                      </a:lnTo>
                      <a:close/>
                      <a:moveTo>
                        <a:pt x="30" y="180"/>
                      </a:moveTo>
                      <a:lnTo>
                        <a:pt x="339" y="180"/>
                      </a:lnTo>
                      <a:lnTo>
                        <a:pt x="339" y="32"/>
                      </a:lnTo>
                      <a:lnTo>
                        <a:pt x="30" y="32"/>
                      </a:lnTo>
                      <a:lnTo>
                        <a:pt x="30" y="18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20" name="Rectangle 19">
                  <a:extLst>
                    <a:ext uri="{FF2B5EF4-FFF2-40B4-BE49-F238E27FC236}">
                      <a16:creationId xmlns:a16="http://schemas.microsoft.com/office/drawing/2014/main" id="{44F504D5-7A7E-4ACC-BCF5-A92044FCFA7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250238" y="4079876"/>
                  <a:ext cx="638175" cy="50800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21" name="Rectangle 20">
                  <a:extLst>
                    <a:ext uri="{FF2B5EF4-FFF2-40B4-BE49-F238E27FC236}">
                      <a16:creationId xmlns:a16="http://schemas.microsoft.com/office/drawing/2014/main" id="{C1CBD50D-402F-4749-99F6-343DEE0C6B5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250238" y="4175126"/>
                  <a:ext cx="638175" cy="49213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22" name="Rectangle 21">
                  <a:extLst>
                    <a:ext uri="{FF2B5EF4-FFF2-40B4-BE49-F238E27FC236}">
                      <a16:creationId xmlns:a16="http://schemas.microsoft.com/office/drawing/2014/main" id="{AF44BB8C-3666-440F-AA8D-1F244442274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250238" y="4271963"/>
                  <a:ext cx="638175" cy="46038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23" name="Rectangle 22">
                  <a:extLst>
                    <a:ext uri="{FF2B5EF4-FFF2-40B4-BE49-F238E27FC236}">
                      <a16:creationId xmlns:a16="http://schemas.microsoft.com/office/drawing/2014/main" id="{E9F10FF6-3852-4486-BFA3-65DD08A32BF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250238" y="4365626"/>
                  <a:ext cx="638175" cy="47625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24" name="Freeform 246">
                  <a:extLst>
                    <a:ext uri="{FF2B5EF4-FFF2-40B4-BE49-F238E27FC236}">
                      <a16:creationId xmlns:a16="http://schemas.microsoft.com/office/drawing/2014/main" id="{FA179A60-74EB-4200-9514-9AD1B05F8A6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443913" y="4365626"/>
                  <a:ext cx="249238" cy="155575"/>
                </a:xfrm>
                <a:custGeom>
                  <a:avLst/>
                  <a:gdLst>
                    <a:gd name="T0" fmla="*/ 157 w 157"/>
                    <a:gd name="T1" fmla="*/ 98 h 98"/>
                    <a:gd name="T2" fmla="*/ 0 w 157"/>
                    <a:gd name="T3" fmla="*/ 98 h 98"/>
                    <a:gd name="T4" fmla="*/ 0 w 157"/>
                    <a:gd name="T5" fmla="*/ 0 h 98"/>
                    <a:gd name="T6" fmla="*/ 157 w 157"/>
                    <a:gd name="T7" fmla="*/ 0 h 98"/>
                    <a:gd name="T8" fmla="*/ 157 w 157"/>
                    <a:gd name="T9" fmla="*/ 98 h 98"/>
                    <a:gd name="T10" fmla="*/ 30 w 157"/>
                    <a:gd name="T11" fmla="*/ 69 h 98"/>
                    <a:gd name="T12" fmla="*/ 128 w 157"/>
                    <a:gd name="T13" fmla="*/ 69 h 98"/>
                    <a:gd name="T14" fmla="*/ 128 w 157"/>
                    <a:gd name="T15" fmla="*/ 30 h 98"/>
                    <a:gd name="T16" fmla="*/ 30 w 157"/>
                    <a:gd name="T17" fmla="*/ 30 h 98"/>
                    <a:gd name="T18" fmla="*/ 30 w 157"/>
                    <a:gd name="T19" fmla="*/ 69 h 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57" h="98">
                      <a:moveTo>
                        <a:pt x="157" y="98"/>
                      </a:moveTo>
                      <a:lnTo>
                        <a:pt x="0" y="98"/>
                      </a:lnTo>
                      <a:lnTo>
                        <a:pt x="0" y="0"/>
                      </a:lnTo>
                      <a:lnTo>
                        <a:pt x="157" y="0"/>
                      </a:lnTo>
                      <a:lnTo>
                        <a:pt x="157" y="98"/>
                      </a:lnTo>
                      <a:close/>
                      <a:moveTo>
                        <a:pt x="30" y="69"/>
                      </a:moveTo>
                      <a:lnTo>
                        <a:pt x="128" y="69"/>
                      </a:lnTo>
                      <a:lnTo>
                        <a:pt x="128" y="30"/>
                      </a:lnTo>
                      <a:lnTo>
                        <a:pt x="30" y="30"/>
                      </a:lnTo>
                      <a:lnTo>
                        <a:pt x="30" y="69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25" name="Rectangle 24">
                  <a:extLst>
                    <a:ext uri="{FF2B5EF4-FFF2-40B4-BE49-F238E27FC236}">
                      <a16:creationId xmlns:a16="http://schemas.microsoft.com/office/drawing/2014/main" id="{A955F91C-F774-4BF6-AEB1-17203468239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3471863"/>
                  <a:ext cx="49213" cy="631825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26" name="Freeform 248">
                  <a:extLst>
                    <a:ext uri="{FF2B5EF4-FFF2-40B4-BE49-F238E27FC236}">
                      <a16:creationId xmlns:a16="http://schemas.microsoft.com/office/drawing/2014/main" id="{20BA89EC-750D-4B3D-8770-1E27FD8E862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375651" y="2968626"/>
                  <a:ext cx="385763" cy="255588"/>
                </a:xfrm>
                <a:custGeom>
                  <a:avLst/>
                  <a:gdLst>
                    <a:gd name="T0" fmla="*/ 145 w 243"/>
                    <a:gd name="T1" fmla="*/ 161 h 161"/>
                    <a:gd name="T2" fmla="*/ 98 w 243"/>
                    <a:gd name="T3" fmla="*/ 69 h 161"/>
                    <a:gd name="T4" fmla="*/ 85 w 243"/>
                    <a:gd name="T5" fmla="*/ 95 h 161"/>
                    <a:gd name="T6" fmla="*/ 0 w 243"/>
                    <a:gd name="T7" fmla="*/ 95 h 161"/>
                    <a:gd name="T8" fmla="*/ 0 w 243"/>
                    <a:gd name="T9" fmla="*/ 65 h 161"/>
                    <a:gd name="T10" fmla="*/ 65 w 243"/>
                    <a:gd name="T11" fmla="*/ 65 h 161"/>
                    <a:gd name="T12" fmla="*/ 98 w 243"/>
                    <a:gd name="T13" fmla="*/ 0 h 161"/>
                    <a:gd name="T14" fmla="*/ 145 w 243"/>
                    <a:gd name="T15" fmla="*/ 93 h 161"/>
                    <a:gd name="T16" fmla="*/ 160 w 243"/>
                    <a:gd name="T17" fmla="*/ 65 h 161"/>
                    <a:gd name="T18" fmla="*/ 243 w 243"/>
                    <a:gd name="T19" fmla="*/ 65 h 161"/>
                    <a:gd name="T20" fmla="*/ 243 w 243"/>
                    <a:gd name="T21" fmla="*/ 95 h 161"/>
                    <a:gd name="T22" fmla="*/ 178 w 243"/>
                    <a:gd name="T23" fmla="*/ 95 h 161"/>
                    <a:gd name="T24" fmla="*/ 145 w 243"/>
                    <a:gd name="T25" fmla="*/ 161 h 1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43" h="161">
                      <a:moveTo>
                        <a:pt x="145" y="161"/>
                      </a:moveTo>
                      <a:lnTo>
                        <a:pt x="98" y="69"/>
                      </a:lnTo>
                      <a:lnTo>
                        <a:pt x="85" y="95"/>
                      </a:lnTo>
                      <a:lnTo>
                        <a:pt x="0" y="95"/>
                      </a:lnTo>
                      <a:lnTo>
                        <a:pt x="0" y="65"/>
                      </a:lnTo>
                      <a:lnTo>
                        <a:pt x="65" y="65"/>
                      </a:lnTo>
                      <a:lnTo>
                        <a:pt x="98" y="0"/>
                      </a:lnTo>
                      <a:lnTo>
                        <a:pt x="145" y="93"/>
                      </a:lnTo>
                      <a:lnTo>
                        <a:pt x="160" y="65"/>
                      </a:lnTo>
                      <a:lnTo>
                        <a:pt x="243" y="65"/>
                      </a:lnTo>
                      <a:lnTo>
                        <a:pt x="243" y="95"/>
                      </a:lnTo>
                      <a:lnTo>
                        <a:pt x="178" y="95"/>
                      </a:lnTo>
                      <a:lnTo>
                        <a:pt x="145" y="161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27" name="Freeform 249">
                  <a:extLst>
                    <a:ext uri="{FF2B5EF4-FFF2-40B4-BE49-F238E27FC236}">
                      <a16:creationId xmlns:a16="http://schemas.microsoft.com/office/drawing/2014/main" id="{AD70F6AF-71A7-4E8D-89D2-5EB9A9290F3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334376" y="3121026"/>
                  <a:ext cx="468313" cy="395288"/>
                </a:xfrm>
                <a:custGeom>
                  <a:avLst/>
                  <a:gdLst>
                    <a:gd name="T0" fmla="*/ 149 w 295"/>
                    <a:gd name="T1" fmla="*/ 249 h 249"/>
                    <a:gd name="T2" fmla="*/ 0 w 295"/>
                    <a:gd name="T3" fmla="*/ 17 h 249"/>
                    <a:gd name="T4" fmla="*/ 26 w 295"/>
                    <a:gd name="T5" fmla="*/ 0 h 249"/>
                    <a:gd name="T6" fmla="*/ 149 w 295"/>
                    <a:gd name="T7" fmla="*/ 193 h 249"/>
                    <a:gd name="T8" fmla="*/ 269 w 295"/>
                    <a:gd name="T9" fmla="*/ 0 h 249"/>
                    <a:gd name="T10" fmla="*/ 295 w 295"/>
                    <a:gd name="T11" fmla="*/ 17 h 249"/>
                    <a:gd name="T12" fmla="*/ 149 w 295"/>
                    <a:gd name="T13" fmla="*/ 249 h 2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95" h="249">
                      <a:moveTo>
                        <a:pt x="149" y="249"/>
                      </a:moveTo>
                      <a:lnTo>
                        <a:pt x="0" y="17"/>
                      </a:lnTo>
                      <a:lnTo>
                        <a:pt x="26" y="0"/>
                      </a:lnTo>
                      <a:lnTo>
                        <a:pt x="149" y="193"/>
                      </a:lnTo>
                      <a:lnTo>
                        <a:pt x="269" y="0"/>
                      </a:lnTo>
                      <a:lnTo>
                        <a:pt x="295" y="17"/>
                      </a:lnTo>
                      <a:lnTo>
                        <a:pt x="149" y="249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28" name="Freeform 250">
                  <a:extLst>
                    <a:ext uri="{FF2B5EF4-FFF2-40B4-BE49-F238E27FC236}">
                      <a16:creationId xmlns:a16="http://schemas.microsoft.com/office/drawing/2014/main" id="{C73B7F44-808D-4D7E-B6A4-2F8A7035192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255001" y="3024188"/>
                  <a:ext cx="144463" cy="144463"/>
                </a:xfrm>
                <a:custGeom>
                  <a:avLst/>
                  <a:gdLst>
                    <a:gd name="T0" fmla="*/ 47 w 91"/>
                    <a:gd name="T1" fmla="*/ 91 h 91"/>
                    <a:gd name="T2" fmla="*/ 47 w 91"/>
                    <a:gd name="T3" fmla="*/ 91 h 91"/>
                    <a:gd name="T4" fmla="*/ 37 w 91"/>
                    <a:gd name="T5" fmla="*/ 89 h 91"/>
                    <a:gd name="T6" fmla="*/ 28 w 91"/>
                    <a:gd name="T7" fmla="*/ 87 h 91"/>
                    <a:gd name="T8" fmla="*/ 21 w 91"/>
                    <a:gd name="T9" fmla="*/ 84 h 91"/>
                    <a:gd name="T10" fmla="*/ 13 w 91"/>
                    <a:gd name="T11" fmla="*/ 78 h 91"/>
                    <a:gd name="T12" fmla="*/ 8 w 91"/>
                    <a:gd name="T13" fmla="*/ 71 h 91"/>
                    <a:gd name="T14" fmla="*/ 4 w 91"/>
                    <a:gd name="T15" fmla="*/ 63 h 91"/>
                    <a:gd name="T16" fmla="*/ 2 w 91"/>
                    <a:gd name="T17" fmla="*/ 54 h 91"/>
                    <a:gd name="T18" fmla="*/ 0 w 91"/>
                    <a:gd name="T19" fmla="*/ 45 h 91"/>
                    <a:gd name="T20" fmla="*/ 0 w 91"/>
                    <a:gd name="T21" fmla="*/ 45 h 91"/>
                    <a:gd name="T22" fmla="*/ 2 w 91"/>
                    <a:gd name="T23" fmla="*/ 35 h 91"/>
                    <a:gd name="T24" fmla="*/ 4 w 91"/>
                    <a:gd name="T25" fmla="*/ 28 h 91"/>
                    <a:gd name="T26" fmla="*/ 8 w 91"/>
                    <a:gd name="T27" fmla="*/ 21 h 91"/>
                    <a:gd name="T28" fmla="*/ 13 w 91"/>
                    <a:gd name="T29" fmla="*/ 13 h 91"/>
                    <a:gd name="T30" fmla="*/ 21 w 91"/>
                    <a:gd name="T31" fmla="*/ 8 h 91"/>
                    <a:gd name="T32" fmla="*/ 28 w 91"/>
                    <a:gd name="T33" fmla="*/ 4 h 91"/>
                    <a:gd name="T34" fmla="*/ 37 w 91"/>
                    <a:gd name="T35" fmla="*/ 0 h 91"/>
                    <a:gd name="T36" fmla="*/ 47 w 91"/>
                    <a:gd name="T37" fmla="*/ 0 h 91"/>
                    <a:gd name="T38" fmla="*/ 47 w 91"/>
                    <a:gd name="T39" fmla="*/ 0 h 91"/>
                    <a:gd name="T40" fmla="*/ 56 w 91"/>
                    <a:gd name="T41" fmla="*/ 0 h 91"/>
                    <a:gd name="T42" fmla="*/ 63 w 91"/>
                    <a:gd name="T43" fmla="*/ 4 h 91"/>
                    <a:gd name="T44" fmla="*/ 73 w 91"/>
                    <a:gd name="T45" fmla="*/ 8 h 91"/>
                    <a:gd name="T46" fmla="*/ 78 w 91"/>
                    <a:gd name="T47" fmla="*/ 13 h 91"/>
                    <a:gd name="T48" fmla="*/ 84 w 91"/>
                    <a:gd name="T49" fmla="*/ 21 h 91"/>
                    <a:gd name="T50" fmla="*/ 87 w 91"/>
                    <a:gd name="T51" fmla="*/ 28 h 91"/>
                    <a:gd name="T52" fmla="*/ 91 w 91"/>
                    <a:gd name="T53" fmla="*/ 35 h 91"/>
                    <a:gd name="T54" fmla="*/ 91 w 91"/>
                    <a:gd name="T55" fmla="*/ 45 h 91"/>
                    <a:gd name="T56" fmla="*/ 91 w 91"/>
                    <a:gd name="T57" fmla="*/ 45 h 91"/>
                    <a:gd name="T58" fmla="*/ 91 w 91"/>
                    <a:gd name="T59" fmla="*/ 54 h 91"/>
                    <a:gd name="T60" fmla="*/ 87 w 91"/>
                    <a:gd name="T61" fmla="*/ 63 h 91"/>
                    <a:gd name="T62" fmla="*/ 84 w 91"/>
                    <a:gd name="T63" fmla="*/ 71 h 91"/>
                    <a:gd name="T64" fmla="*/ 78 w 91"/>
                    <a:gd name="T65" fmla="*/ 78 h 91"/>
                    <a:gd name="T66" fmla="*/ 73 w 91"/>
                    <a:gd name="T67" fmla="*/ 84 h 91"/>
                    <a:gd name="T68" fmla="*/ 63 w 91"/>
                    <a:gd name="T69" fmla="*/ 87 h 91"/>
                    <a:gd name="T70" fmla="*/ 56 w 91"/>
                    <a:gd name="T71" fmla="*/ 89 h 91"/>
                    <a:gd name="T72" fmla="*/ 47 w 91"/>
                    <a:gd name="T73" fmla="*/ 91 h 91"/>
                    <a:gd name="T74" fmla="*/ 47 w 91"/>
                    <a:gd name="T75" fmla="*/ 91 h 91"/>
                    <a:gd name="T76" fmla="*/ 47 w 91"/>
                    <a:gd name="T77" fmla="*/ 30 h 91"/>
                    <a:gd name="T78" fmla="*/ 47 w 91"/>
                    <a:gd name="T79" fmla="*/ 30 h 91"/>
                    <a:gd name="T80" fmla="*/ 41 w 91"/>
                    <a:gd name="T81" fmla="*/ 32 h 91"/>
                    <a:gd name="T82" fmla="*/ 35 w 91"/>
                    <a:gd name="T83" fmla="*/ 35 h 91"/>
                    <a:gd name="T84" fmla="*/ 32 w 91"/>
                    <a:gd name="T85" fmla="*/ 39 h 91"/>
                    <a:gd name="T86" fmla="*/ 32 w 91"/>
                    <a:gd name="T87" fmla="*/ 45 h 91"/>
                    <a:gd name="T88" fmla="*/ 32 w 91"/>
                    <a:gd name="T89" fmla="*/ 45 h 91"/>
                    <a:gd name="T90" fmla="*/ 32 w 91"/>
                    <a:gd name="T91" fmla="*/ 50 h 91"/>
                    <a:gd name="T92" fmla="*/ 35 w 91"/>
                    <a:gd name="T93" fmla="*/ 56 h 91"/>
                    <a:gd name="T94" fmla="*/ 41 w 91"/>
                    <a:gd name="T95" fmla="*/ 60 h 91"/>
                    <a:gd name="T96" fmla="*/ 47 w 91"/>
                    <a:gd name="T97" fmla="*/ 60 h 91"/>
                    <a:gd name="T98" fmla="*/ 47 w 91"/>
                    <a:gd name="T99" fmla="*/ 60 h 91"/>
                    <a:gd name="T100" fmla="*/ 52 w 91"/>
                    <a:gd name="T101" fmla="*/ 60 h 91"/>
                    <a:gd name="T102" fmla="*/ 58 w 91"/>
                    <a:gd name="T103" fmla="*/ 56 h 91"/>
                    <a:gd name="T104" fmla="*/ 60 w 91"/>
                    <a:gd name="T105" fmla="*/ 50 h 91"/>
                    <a:gd name="T106" fmla="*/ 61 w 91"/>
                    <a:gd name="T107" fmla="*/ 45 h 91"/>
                    <a:gd name="T108" fmla="*/ 61 w 91"/>
                    <a:gd name="T109" fmla="*/ 45 h 91"/>
                    <a:gd name="T110" fmla="*/ 60 w 91"/>
                    <a:gd name="T111" fmla="*/ 39 h 91"/>
                    <a:gd name="T112" fmla="*/ 58 w 91"/>
                    <a:gd name="T113" fmla="*/ 35 h 91"/>
                    <a:gd name="T114" fmla="*/ 52 w 91"/>
                    <a:gd name="T115" fmla="*/ 32 h 91"/>
                    <a:gd name="T116" fmla="*/ 47 w 91"/>
                    <a:gd name="T117" fmla="*/ 30 h 91"/>
                    <a:gd name="T118" fmla="*/ 47 w 91"/>
                    <a:gd name="T119" fmla="*/ 30 h 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91" h="91">
                      <a:moveTo>
                        <a:pt x="47" y="91"/>
                      </a:moveTo>
                      <a:lnTo>
                        <a:pt x="47" y="91"/>
                      </a:lnTo>
                      <a:lnTo>
                        <a:pt x="37" y="89"/>
                      </a:lnTo>
                      <a:lnTo>
                        <a:pt x="28" y="87"/>
                      </a:lnTo>
                      <a:lnTo>
                        <a:pt x="21" y="84"/>
                      </a:lnTo>
                      <a:lnTo>
                        <a:pt x="13" y="78"/>
                      </a:lnTo>
                      <a:lnTo>
                        <a:pt x="8" y="71"/>
                      </a:lnTo>
                      <a:lnTo>
                        <a:pt x="4" y="63"/>
                      </a:lnTo>
                      <a:lnTo>
                        <a:pt x="2" y="54"/>
                      </a:lnTo>
                      <a:lnTo>
                        <a:pt x="0" y="45"/>
                      </a:lnTo>
                      <a:lnTo>
                        <a:pt x="0" y="45"/>
                      </a:lnTo>
                      <a:lnTo>
                        <a:pt x="2" y="35"/>
                      </a:lnTo>
                      <a:lnTo>
                        <a:pt x="4" y="28"/>
                      </a:lnTo>
                      <a:lnTo>
                        <a:pt x="8" y="21"/>
                      </a:lnTo>
                      <a:lnTo>
                        <a:pt x="13" y="13"/>
                      </a:lnTo>
                      <a:lnTo>
                        <a:pt x="21" y="8"/>
                      </a:lnTo>
                      <a:lnTo>
                        <a:pt x="28" y="4"/>
                      </a:lnTo>
                      <a:lnTo>
                        <a:pt x="37" y="0"/>
                      </a:lnTo>
                      <a:lnTo>
                        <a:pt x="47" y="0"/>
                      </a:lnTo>
                      <a:lnTo>
                        <a:pt x="47" y="0"/>
                      </a:lnTo>
                      <a:lnTo>
                        <a:pt x="56" y="0"/>
                      </a:lnTo>
                      <a:lnTo>
                        <a:pt x="63" y="4"/>
                      </a:lnTo>
                      <a:lnTo>
                        <a:pt x="73" y="8"/>
                      </a:lnTo>
                      <a:lnTo>
                        <a:pt x="78" y="13"/>
                      </a:lnTo>
                      <a:lnTo>
                        <a:pt x="84" y="21"/>
                      </a:lnTo>
                      <a:lnTo>
                        <a:pt x="87" y="28"/>
                      </a:lnTo>
                      <a:lnTo>
                        <a:pt x="91" y="35"/>
                      </a:lnTo>
                      <a:lnTo>
                        <a:pt x="91" y="45"/>
                      </a:lnTo>
                      <a:lnTo>
                        <a:pt x="91" y="45"/>
                      </a:lnTo>
                      <a:lnTo>
                        <a:pt x="91" y="54"/>
                      </a:lnTo>
                      <a:lnTo>
                        <a:pt x="87" y="63"/>
                      </a:lnTo>
                      <a:lnTo>
                        <a:pt x="84" y="71"/>
                      </a:lnTo>
                      <a:lnTo>
                        <a:pt x="78" y="78"/>
                      </a:lnTo>
                      <a:lnTo>
                        <a:pt x="73" y="84"/>
                      </a:lnTo>
                      <a:lnTo>
                        <a:pt x="63" y="87"/>
                      </a:lnTo>
                      <a:lnTo>
                        <a:pt x="56" y="89"/>
                      </a:lnTo>
                      <a:lnTo>
                        <a:pt x="47" y="91"/>
                      </a:lnTo>
                      <a:lnTo>
                        <a:pt x="47" y="91"/>
                      </a:lnTo>
                      <a:close/>
                      <a:moveTo>
                        <a:pt x="47" y="30"/>
                      </a:moveTo>
                      <a:lnTo>
                        <a:pt x="47" y="30"/>
                      </a:lnTo>
                      <a:lnTo>
                        <a:pt x="41" y="32"/>
                      </a:lnTo>
                      <a:lnTo>
                        <a:pt x="35" y="35"/>
                      </a:lnTo>
                      <a:lnTo>
                        <a:pt x="32" y="39"/>
                      </a:lnTo>
                      <a:lnTo>
                        <a:pt x="32" y="45"/>
                      </a:lnTo>
                      <a:lnTo>
                        <a:pt x="32" y="45"/>
                      </a:lnTo>
                      <a:lnTo>
                        <a:pt x="32" y="50"/>
                      </a:lnTo>
                      <a:lnTo>
                        <a:pt x="35" y="56"/>
                      </a:lnTo>
                      <a:lnTo>
                        <a:pt x="41" y="60"/>
                      </a:lnTo>
                      <a:lnTo>
                        <a:pt x="47" y="60"/>
                      </a:lnTo>
                      <a:lnTo>
                        <a:pt x="47" y="60"/>
                      </a:lnTo>
                      <a:lnTo>
                        <a:pt x="52" y="60"/>
                      </a:lnTo>
                      <a:lnTo>
                        <a:pt x="58" y="56"/>
                      </a:lnTo>
                      <a:lnTo>
                        <a:pt x="60" y="50"/>
                      </a:lnTo>
                      <a:lnTo>
                        <a:pt x="61" y="45"/>
                      </a:lnTo>
                      <a:lnTo>
                        <a:pt x="61" y="45"/>
                      </a:lnTo>
                      <a:lnTo>
                        <a:pt x="60" y="39"/>
                      </a:lnTo>
                      <a:lnTo>
                        <a:pt x="58" y="35"/>
                      </a:lnTo>
                      <a:lnTo>
                        <a:pt x="52" y="32"/>
                      </a:lnTo>
                      <a:lnTo>
                        <a:pt x="47" y="30"/>
                      </a:lnTo>
                      <a:lnTo>
                        <a:pt x="47" y="3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29" name="Freeform 251">
                  <a:extLst>
                    <a:ext uri="{FF2B5EF4-FFF2-40B4-BE49-F238E27FC236}">
                      <a16:creationId xmlns:a16="http://schemas.microsoft.com/office/drawing/2014/main" id="{8912995F-B8C5-4317-80BC-C331A0BFC16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737601" y="3024188"/>
                  <a:ext cx="144463" cy="144463"/>
                </a:xfrm>
                <a:custGeom>
                  <a:avLst/>
                  <a:gdLst>
                    <a:gd name="T0" fmla="*/ 45 w 91"/>
                    <a:gd name="T1" fmla="*/ 91 h 91"/>
                    <a:gd name="T2" fmla="*/ 45 w 91"/>
                    <a:gd name="T3" fmla="*/ 91 h 91"/>
                    <a:gd name="T4" fmla="*/ 35 w 91"/>
                    <a:gd name="T5" fmla="*/ 89 h 91"/>
                    <a:gd name="T6" fmla="*/ 28 w 91"/>
                    <a:gd name="T7" fmla="*/ 87 h 91"/>
                    <a:gd name="T8" fmla="*/ 21 w 91"/>
                    <a:gd name="T9" fmla="*/ 84 h 91"/>
                    <a:gd name="T10" fmla="*/ 13 w 91"/>
                    <a:gd name="T11" fmla="*/ 78 h 91"/>
                    <a:gd name="T12" fmla="*/ 8 w 91"/>
                    <a:gd name="T13" fmla="*/ 71 h 91"/>
                    <a:gd name="T14" fmla="*/ 4 w 91"/>
                    <a:gd name="T15" fmla="*/ 63 h 91"/>
                    <a:gd name="T16" fmla="*/ 0 w 91"/>
                    <a:gd name="T17" fmla="*/ 54 h 91"/>
                    <a:gd name="T18" fmla="*/ 0 w 91"/>
                    <a:gd name="T19" fmla="*/ 45 h 91"/>
                    <a:gd name="T20" fmla="*/ 0 w 91"/>
                    <a:gd name="T21" fmla="*/ 45 h 91"/>
                    <a:gd name="T22" fmla="*/ 0 w 91"/>
                    <a:gd name="T23" fmla="*/ 35 h 91"/>
                    <a:gd name="T24" fmla="*/ 4 w 91"/>
                    <a:gd name="T25" fmla="*/ 28 h 91"/>
                    <a:gd name="T26" fmla="*/ 8 w 91"/>
                    <a:gd name="T27" fmla="*/ 21 h 91"/>
                    <a:gd name="T28" fmla="*/ 13 w 91"/>
                    <a:gd name="T29" fmla="*/ 13 h 91"/>
                    <a:gd name="T30" fmla="*/ 21 w 91"/>
                    <a:gd name="T31" fmla="*/ 8 h 91"/>
                    <a:gd name="T32" fmla="*/ 28 w 91"/>
                    <a:gd name="T33" fmla="*/ 4 h 91"/>
                    <a:gd name="T34" fmla="*/ 35 w 91"/>
                    <a:gd name="T35" fmla="*/ 0 h 91"/>
                    <a:gd name="T36" fmla="*/ 45 w 91"/>
                    <a:gd name="T37" fmla="*/ 0 h 91"/>
                    <a:gd name="T38" fmla="*/ 45 w 91"/>
                    <a:gd name="T39" fmla="*/ 0 h 91"/>
                    <a:gd name="T40" fmla="*/ 54 w 91"/>
                    <a:gd name="T41" fmla="*/ 0 h 91"/>
                    <a:gd name="T42" fmla="*/ 63 w 91"/>
                    <a:gd name="T43" fmla="*/ 4 h 91"/>
                    <a:gd name="T44" fmla="*/ 71 w 91"/>
                    <a:gd name="T45" fmla="*/ 8 h 91"/>
                    <a:gd name="T46" fmla="*/ 78 w 91"/>
                    <a:gd name="T47" fmla="*/ 13 h 91"/>
                    <a:gd name="T48" fmla="*/ 84 w 91"/>
                    <a:gd name="T49" fmla="*/ 21 h 91"/>
                    <a:gd name="T50" fmla="*/ 87 w 91"/>
                    <a:gd name="T51" fmla="*/ 28 h 91"/>
                    <a:gd name="T52" fmla="*/ 89 w 91"/>
                    <a:gd name="T53" fmla="*/ 35 h 91"/>
                    <a:gd name="T54" fmla="*/ 91 w 91"/>
                    <a:gd name="T55" fmla="*/ 45 h 91"/>
                    <a:gd name="T56" fmla="*/ 91 w 91"/>
                    <a:gd name="T57" fmla="*/ 45 h 91"/>
                    <a:gd name="T58" fmla="*/ 89 w 91"/>
                    <a:gd name="T59" fmla="*/ 54 h 91"/>
                    <a:gd name="T60" fmla="*/ 87 w 91"/>
                    <a:gd name="T61" fmla="*/ 63 h 91"/>
                    <a:gd name="T62" fmla="*/ 84 w 91"/>
                    <a:gd name="T63" fmla="*/ 71 h 91"/>
                    <a:gd name="T64" fmla="*/ 78 w 91"/>
                    <a:gd name="T65" fmla="*/ 78 h 91"/>
                    <a:gd name="T66" fmla="*/ 71 w 91"/>
                    <a:gd name="T67" fmla="*/ 84 h 91"/>
                    <a:gd name="T68" fmla="*/ 63 w 91"/>
                    <a:gd name="T69" fmla="*/ 87 h 91"/>
                    <a:gd name="T70" fmla="*/ 54 w 91"/>
                    <a:gd name="T71" fmla="*/ 89 h 91"/>
                    <a:gd name="T72" fmla="*/ 45 w 91"/>
                    <a:gd name="T73" fmla="*/ 91 h 91"/>
                    <a:gd name="T74" fmla="*/ 45 w 91"/>
                    <a:gd name="T75" fmla="*/ 91 h 91"/>
                    <a:gd name="T76" fmla="*/ 45 w 91"/>
                    <a:gd name="T77" fmla="*/ 30 h 91"/>
                    <a:gd name="T78" fmla="*/ 45 w 91"/>
                    <a:gd name="T79" fmla="*/ 30 h 91"/>
                    <a:gd name="T80" fmla="*/ 39 w 91"/>
                    <a:gd name="T81" fmla="*/ 32 h 91"/>
                    <a:gd name="T82" fmla="*/ 35 w 91"/>
                    <a:gd name="T83" fmla="*/ 35 h 91"/>
                    <a:gd name="T84" fmla="*/ 32 w 91"/>
                    <a:gd name="T85" fmla="*/ 39 h 91"/>
                    <a:gd name="T86" fmla="*/ 30 w 91"/>
                    <a:gd name="T87" fmla="*/ 45 h 91"/>
                    <a:gd name="T88" fmla="*/ 30 w 91"/>
                    <a:gd name="T89" fmla="*/ 45 h 91"/>
                    <a:gd name="T90" fmla="*/ 32 w 91"/>
                    <a:gd name="T91" fmla="*/ 50 h 91"/>
                    <a:gd name="T92" fmla="*/ 35 w 91"/>
                    <a:gd name="T93" fmla="*/ 56 h 91"/>
                    <a:gd name="T94" fmla="*/ 39 w 91"/>
                    <a:gd name="T95" fmla="*/ 60 h 91"/>
                    <a:gd name="T96" fmla="*/ 45 w 91"/>
                    <a:gd name="T97" fmla="*/ 60 h 91"/>
                    <a:gd name="T98" fmla="*/ 45 w 91"/>
                    <a:gd name="T99" fmla="*/ 60 h 91"/>
                    <a:gd name="T100" fmla="*/ 50 w 91"/>
                    <a:gd name="T101" fmla="*/ 60 h 91"/>
                    <a:gd name="T102" fmla="*/ 56 w 91"/>
                    <a:gd name="T103" fmla="*/ 56 h 91"/>
                    <a:gd name="T104" fmla="*/ 59 w 91"/>
                    <a:gd name="T105" fmla="*/ 50 h 91"/>
                    <a:gd name="T106" fmla="*/ 59 w 91"/>
                    <a:gd name="T107" fmla="*/ 45 h 91"/>
                    <a:gd name="T108" fmla="*/ 59 w 91"/>
                    <a:gd name="T109" fmla="*/ 45 h 91"/>
                    <a:gd name="T110" fmla="*/ 59 w 91"/>
                    <a:gd name="T111" fmla="*/ 39 h 91"/>
                    <a:gd name="T112" fmla="*/ 56 w 91"/>
                    <a:gd name="T113" fmla="*/ 35 h 91"/>
                    <a:gd name="T114" fmla="*/ 50 w 91"/>
                    <a:gd name="T115" fmla="*/ 32 h 91"/>
                    <a:gd name="T116" fmla="*/ 45 w 91"/>
                    <a:gd name="T117" fmla="*/ 30 h 91"/>
                    <a:gd name="T118" fmla="*/ 45 w 91"/>
                    <a:gd name="T119" fmla="*/ 30 h 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91" h="91">
                      <a:moveTo>
                        <a:pt x="45" y="91"/>
                      </a:moveTo>
                      <a:lnTo>
                        <a:pt x="45" y="91"/>
                      </a:lnTo>
                      <a:lnTo>
                        <a:pt x="35" y="89"/>
                      </a:lnTo>
                      <a:lnTo>
                        <a:pt x="28" y="87"/>
                      </a:lnTo>
                      <a:lnTo>
                        <a:pt x="21" y="84"/>
                      </a:lnTo>
                      <a:lnTo>
                        <a:pt x="13" y="78"/>
                      </a:lnTo>
                      <a:lnTo>
                        <a:pt x="8" y="71"/>
                      </a:lnTo>
                      <a:lnTo>
                        <a:pt x="4" y="63"/>
                      </a:lnTo>
                      <a:lnTo>
                        <a:pt x="0" y="54"/>
                      </a:lnTo>
                      <a:lnTo>
                        <a:pt x="0" y="45"/>
                      </a:lnTo>
                      <a:lnTo>
                        <a:pt x="0" y="45"/>
                      </a:lnTo>
                      <a:lnTo>
                        <a:pt x="0" y="35"/>
                      </a:lnTo>
                      <a:lnTo>
                        <a:pt x="4" y="28"/>
                      </a:lnTo>
                      <a:lnTo>
                        <a:pt x="8" y="21"/>
                      </a:lnTo>
                      <a:lnTo>
                        <a:pt x="13" y="13"/>
                      </a:lnTo>
                      <a:lnTo>
                        <a:pt x="21" y="8"/>
                      </a:lnTo>
                      <a:lnTo>
                        <a:pt x="28" y="4"/>
                      </a:lnTo>
                      <a:lnTo>
                        <a:pt x="35" y="0"/>
                      </a:lnTo>
                      <a:lnTo>
                        <a:pt x="45" y="0"/>
                      </a:lnTo>
                      <a:lnTo>
                        <a:pt x="45" y="0"/>
                      </a:lnTo>
                      <a:lnTo>
                        <a:pt x="54" y="0"/>
                      </a:lnTo>
                      <a:lnTo>
                        <a:pt x="63" y="4"/>
                      </a:lnTo>
                      <a:lnTo>
                        <a:pt x="71" y="8"/>
                      </a:lnTo>
                      <a:lnTo>
                        <a:pt x="78" y="13"/>
                      </a:lnTo>
                      <a:lnTo>
                        <a:pt x="84" y="21"/>
                      </a:lnTo>
                      <a:lnTo>
                        <a:pt x="87" y="28"/>
                      </a:lnTo>
                      <a:lnTo>
                        <a:pt x="89" y="35"/>
                      </a:lnTo>
                      <a:lnTo>
                        <a:pt x="91" y="45"/>
                      </a:lnTo>
                      <a:lnTo>
                        <a:pt x="91" y="45"/>
                      </a:lnTo>
                      <a:lnTo>
                        <a:pt x="89" y="54"/>
                      </a:lnTo>
                      <a:lnTo>
                        <a:pt x="87" y="63"/>
                      </a:lnTo>
                      <a:lnTo>
                        <a:pt x="84" y="71"/>
                      </a:lnTo>
                      <a:lnTo>
                        <a:pt x="78" y="78"/>
                      </a:lnTo>
                      <a:lnTo>
                        <a:pt x="71" y="84"/>
                      </a:lnTo>
                      <a:lnTo>
                        <a:pt x="63" y="87"/>
                      </a:lnTo>
                      <a:lnTo>
                        <a:pt x="54" y="89"/>
                      </a:lnTo>
                      <a:lnTo>
                        <a:pt x="45" y="91"/>
                      </a:lnTo>
                      <a:lnTo>
                        <a:pt x="45" y="91"/>
                      </a:lnTo>
                      <a:close/>
                      <a:moveTo>
                        <a:pt x="45" y="30"/>
                      </a:moveTo>
                      <a:lnTo>
                        <a:pt x="45" y="30"/>
                      </a:lnTo>
                      <a:lnTo>
                        <a:pt x="39" y="32"/>
                      </a:lnTo>
                      <a:lnTo>
                        <a:pt x="35" y="35"/>
                      </a:lnTo>
                      <a:lnTo>
                        <a:pt x="32" y="39"/>
                      </a:lnTo>
                      <a:lnTo>
                        <a:pt x="30" y="45"/>
                      </a:lnTo>
                      <a:lnTo>
                        <a:pt x="30" y="45"/>
                      </a:lnTo>
                      <a:lnTo>
                        <a:pt x="32" y="50"/>
                      </a:lnTo>
                      <a:lnTo>
                        <a:pt x="35" y="56"/>
                      </a:lnTo>
                      <a:lnTo>
                        <a:pt x="39" y="60"/>
                      </a:lnTo>
                      <a:lnTo>
                        <a:pt x="45" y="60"/>
                      </a:lnTo>
                      <a:lnTo>
                        <a:pt x="45" y="60"/>
                      </a:lnTo>
                      <a:lnTo>
                        <a:pt x="50" y="60"/>
                      </a:lnTo>
                      <a:lnTo>
                        <a:pt x="56" y="56"/>
                      </a:lnTo>
                      <a:lnTo>
                        <a:pt x="59" y="50"/>
                      </a:lnTo>
                      <a:lnTo>
                        <a:pt x="59" y="45"/>
                      </a:lnTo>
                      <a:lnTo>
                        <a:pt x="59" y="45"/>
                      </a:lnTo>
                      <a:lnTo>
                        <a:pt x="59" y="39"/>
                      </a:lnTo>
                      <a:lnTo>
                        <a:pt x="56" y="35"/>
                      </a:lnTo>
                      <a:lnTo>
                        <a:pt x="50" y="32"/>
                      </a:lnTo>
                      <a:lnTo>
                        <a:pt x="45" y="30"/>
                      </a:lnTo>
                      <a:lnTo>
                        <a:pt x="45" y="3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30" name="Rectangle 29">
                  <a:extLst>
                    <a:ext uri="{FF2B5EF4-FFF2-40B4-BE49-F238E27FC236}">
                      <a16:creationId xmlns:a16="http://schemas.microsoft.com/office/drawing/2014/main" id="{CAAE7413-EF26-4717-AC8C-2CF23F2E41D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2178051"/>
                  <a:ext cx="49213" cy="93663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31" name="Freeform 253">
                  <a:extLst>
                    <a:ext uri="{FF2B5EF4-FFF2-40B4-BE49-F238E27FC236}">
                      <a16:creationId xmlns:a16="http://schemas.microsoft.com/office/drawing/2014/main" id="{73AA1EC9-474D-472D-8564-CF212A52E48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716963" y="2192338"/>
                  <a:ext cx="68263" cy="103188"/>
                </a:xfrm>
                <a:custGeom>
                  <a:avLst/>
                  <a:gdLst>
                    <a:gd name="T0" fmla="*/ 30 w 43"/>
                    <a:gd name="T1" fmla="*/ 65 h 65"/>
                    <a:gd name="T2" fmla="*/ 0 w 43"/>
                    <a:gd name="T3" fmla="*/ 59 h 65"/>
                    <a:gd name="T4" fmla="*/ 13 w 43"/>
                    <a:gd name="T5" fmla="*/ 0 h 65"/>
                    <a:gd name="T6" fmla="*/ 43 w 43"/>
                    <a:gd name="T7" fmla="*/ 6 h 65"/>
                    <a:gd name="T8" fmla="*/ 30 w 43"/>
                    <a:gd name="T9" fmla="*/ 65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3" h="65">
                      <a:moveTo>
                        <a:pt x="30" y="65"/>
                      </a:moveTo>
                      <a:lnTo>
                        <a:pt x="0" y="59"/>
                      </a:lnTo>
                      <a:lnTo>
                        <a:pt x="13" y="0"/>
                      </a:lnTo>
                      <a:lnTo>
                        <a:pt x="43" y="6"/>
                      </a:lnTo>
                      <a:lnTo>
                        <a:pt x="30" y="65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32" name="Freeform 254">
                  <a:extLst>
                    <a:ext uri="{FF2B5EF4-FFF2-40B4-BE49-F238E27FC236}">
                      <a16:creationId xmlns:a16="http://schemas.microsoft.com/office/drawing/2014/main" id="{61A6ADAC-B9E4-492F-865E-BCE734A5588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882063" y="2244726"/>
                  <a:ext cx="82550" cy="109538"/>
                </a:xfrm>
                <a:custGeom>
                  <a:avLst/>
                  <a:gdLst>
                    <a:gd name="T0" fmla="*/ 28 w 52"/>
                    <a:gd name="T1" fmla="*/ 69 h 69"/>
                    <a:gd name="T2" fmla="*/ 0 w 52"/>
                    <a:gd name="T3" fmla="*/ 56 h 69"/>
                    <a:gd name="T4" fmla="*/ 24 w 52"/>
                    <a:gd name="T5" fmla="*/ 0 h 69"/>
                    <a:gd name="T6" fmla="*/ 52 w 52"/>
                    <a:gd name="T7" fmla="*/ 13 h 69"/>
                    <a:gd name="T8" fmla="*/ 28 w 52"/>
                    <a:gd name="T9" fmla="*/ 69 h 6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2" h="69">
                      <a:moveTo>
                        <a:pt x="28" y="69"/>
                      </a:moveTo>
                      <a:lnTo>
                        <a:pt x="0" y="56"/>
                      </a:lnTo>
                      <a:lnTo>
                        <a:pt x="24" y="0"/>
                      </a:lnTo>
                      <a:lnTo>
                        <a:pt x="52" y="13"/>
                      </a:lnTo>
                      <a:lnTo>
                        <a:pt x="28" y="69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33" name="Freeform 255">
                  <a:extLst>
                    <a:ext uri="{FF2B5EF4-FFF2-40B4-BE49-F238E27FC236}">
                      <a16:creationId xmlns:a16="http://schemas.microsoft.com/office/drawing/2014/main" id="{977A77F8-1623-4CB7-A819-AAAAA493D4D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031288" y="2339976"/>
                  <a:ext cx="98425" cy="104775"/>
                </a:xfrm>
                <a:custGeom>
                  <a:avLst/>
                  <a:gdLst>
                    <a:gd name="T0" fmla="*/ 26 w 62"/>
                    <a:gd name="T1" fmla="*/ 66 h 66"/>
                    <a:gd name="T2" fmla="*/ 0 w 62"/>
                    <a:gd name="T3" fmla="*/ 48 h 66"/>
                    <a:gd name="T4" fmla="*/ 37 w 62"/>
                    <a:gd name="T5" fmla="*/ 0 h 66"/>
                    <a:gd name="T6" fmla="*/ 62 w 62"/>
                    <a:gd name="T7" fmla="*/ 16 h 66"/>
                    <a:gd name="T8" fmla="*/ 26 w 62"/>
                    <a:gd name="T9" fmla="*/ 66 h 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2" h="66">
                      <a:moveTo>
                        <a:pt x="26" y="66"/>
                      </a:moveTo>
                      <a:lnTo>
                        <a:pt x="0" y="48"/>
                      </a:lnTo>
                      <a:lnTo>
                        <a:pt x="37" y="0"/>
                      </a:lnTo>
                      <a:lnTo>
                        <a:pt x="62" y="16"/>
                      </a:lnTo>
                      <a:lnTo>
                        <a:pt x="26" y="66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34" name="Freeform 256">
                  <a:extLst>
                    <a:ext uri="{FF2B5EF4-FFF2-40B4-BE49-F238E27FC236}">
                      <a16:creationId xmlns:a16="http://schemas.microsoft.com/office/drawing/2014/main" id="{935FDF97-10EE-4E4C-A53E-9166170DD4A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164638" y="2462213"/>
                  <a:ext cx="103188" cy="100013"/>
                </a:xfrm>
                <a:custGeom>
                  <a:avLst/>
                  <a:gdLst>
                    <a:gd name="T0" fmla="*/ 20 w 65"/>
                    <a:gd name="T1" fmla="*/ 63 h 63"/>
                    <a:gd name="T2" fmla="*/ 0 w 65"/>
                    <a:gd name="T3" fmla="*/ 41 h 63"/>
                    <a:gd name="T4" fmla="*/ 44 w 65"/>
                    <a:gd name="T5" fmla="*/ 0 h 63"/>
                    <a:gd name="T6" fmla="*/ 65 w 65"/>
                    <a:gd name="T7" fmla="*/ 23 h 63"/>
                    <a:gd name="T8" fmla="*/ 20 w 65"/>
                    <a:gd name="T9" fmla="*/ 63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5" h="63">
                      <a:moveTo>
                        <a:pt x="20" y="63"/>
                      </a:moveTo>
                      <a:lnTo>
                        <a:pt x="0" y="41"/>
                      </a:lnTo>
                      <a:lnTo>
                        <a:pt x="44" y="0"/>
                      </a:lnTo>
                      <a:lnTo>
                        <a:pt x="65" y="23"/>
                      </a:lnTo>
                      <a:lnTo>
                        <a:pt x="20" y="6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35" name="Freeform 257">
                  <a:extLst>
                    <a:ext uri="{FF2B5EF4-FFF2-40B4-BE49-F238E27FC236}">
                      <a16:creationId xmlns:a16="http://schemas.microsoft.com/office/drawing/2014/main" id="{CA562749-14B7-41A8-BB25-A07EBB3C4AD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271001" y="2616201"/>
                  <a:ext cx="104775" cy="87313"/>
                </a:xfrm>
                <a:custGeom>
                  <a:avLst/>
                  <a:gdLst>
                    <a:gd name="T0" fmla="*/ 14 w 66"/>
                    <a:gd name="T1" fmla="*/ 55 h 55"/>
                    <a:gd name="T2" fmla="*/ 0 w 66"/>
                    <a:gd name="T3" fmla="*/ 29 h 55"/>
                    <a:gd name="T4" fmla="*/ 51 w 66"/>
                    <a:gd name="T5" fmla="*/ 0 h 55"/>
                    <a:gd name="T6" fmla="*/ 66 w 66"/>
                    <a:gd name="T7" fmla="*/ 26 h 55"/>
                    <a:gd name="T8" fmla="*/ 14 w 66"/>
                    <a:gd name="T9" fmla="*/ 55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6" h="55">
                      <a:moveTo>
                        <a:pt x="14" y="55"/>
                      </a:moveTo>
                      <a:lnTo>
                        <a:pt x="0" y="29"/>
                      </a:lnTo>
                      <a:lnTo>
                        <a:pt x="51" y="0"/>
                      </a:lnTo>
                      <a:lnTo>
                        <a:pt x="66" y="26"/>
                      </a:lnTo>
                      <a:lnTo>
                        <a:pt x="14" y="55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36" name="Freeform 258">
                  <a:extLst>
                    <a:ext uri="{FF2B5EF4-FFF2-40B4-BE49-F238E27FC236}">
                      <a16:creationId xmlns:a16="http://schemas.microsoft.com/office/drawing/2014/main" id="{408CA8BA-E75E-4490-98D8-1AEDFA54646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344026" y="2789238"/>
                  <a:ext cx="106363" cy="76200"/>
                </a:xfrm>
                <a:custGeom>
                  <a:avLst/>
                  <a:gdLst>
                    <a:gd name="T0" fmla="*/ 9 w 67"/>
                    <a:gd name="T1" fmla="*/ 48 h 48"/>
                    <a:gd name="T2" fmla="*/ 0 w 67"/>
                    <a:gd name="T3" fmla="*/ 19 h 48"/>
                    <a:gd name="T4" fmla="*/ 57 w 67"/>
                    <a:gd name="T5" fmla="*/ 0 h 48"/>
                    <a:gd name="T6" fmla="*/ 67 w 67"/>
                    <a:gd name="T7" fmla="*/ 28 h 48"/>
                    <a:gd name="T8" fmla="*/ 9 w 67"/>
                    <a:gd name="T9" fmla="*/ 48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7" h="48">
                      <a:moveTo>
                        <a:pt x="9" y="48"/>
                      </a:moveTo>
                      <a:lnTo>
                        <a:pt x="0" y="19"/>
                      </a:lnTo>
                      <a:lnTo>
                        <a:pt x="57" y="0"/>
                      </a:lnTo>
                      <a:lnTo>
                        <a:pt x="67" y="28"/>
                      </a:lnTo>
                      <a:lnTo>
                        <a:pt x="9" y="48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37" name="Freeform 259">
                  <a:extLst>
                    <a:ext uri="{FF2B5EF4-FFF2-40B4-BE49-F238E27FC236}">
                      <a16:creationId xmlns:a16="http://schemas.microsoft.com/office/drawing/2014/main" id="{1090CF3A-27A3-4311-8FE7-596CA729EF8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385301" y="2974976"/>
                  <a:ext cx="100013" cy="58738"/>
                </a:xfrm>
                <a:custGeom>
                  <a:avLst/>
                  <a:gdLst>
                    <a:gd name="T0" fmla="*/ 3 w 63"/>
                    <a:gd name="T1" fmla="*/ 37 h 37"/>
                    <a:gd name="T2" fmla="*/ 0 w 63"/>
                    <a:gd name="T3" fmla="*/ 7 h 37"/>
                    <a:gd name="T4" fmla="*/ 59 w 63"/>
                    <a:gd name="T5" fmla="*/ 0 h 37"/>
                    <a:gd name="T6" fmla="*/ 63 w 63"/>
                    <a:gd name="T7" fmla="*/ 31 h 37"/>
                    <a:gd name="T8" fmla="*/ 3 w 63"/>
                    <a:gd name="T9" fmla="*/ 37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3" h="37">
                      <a:moveTo>
                        <a:pt x="3" y="37"/>
                      </a:moveTo>
                      <a:lnTo>
                        <a:pt x="0" y="7"/>
                      </a:lnTo>
                      <a:lnTo>
                        <a:pt x="59" y="0"/>
                      </a:lnTo>
                      <a:lnTo>
                        <a:pt x="63" y="31"/>
                      </a:lnTo>
                      <a:lnTo>
                        <a:pt x="3" y="37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38" name="Freeform 260">
                  <a:extLst>
                    <a:ext uri="{FF2B5EF4-FFF2-40B4-BE49-F238E27FC236}">
                      <a16:creationId xmlns:a16="http://schemas.microsoft.com/office/drawing/2014/main" id="{3FAB6C50-BDDE-45C0-926C-7837C8FA7B7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385301" y="3157538"/>
                  <a:ext cx="100013" cy="58738"/>
                </a:xfrm>
                <a:custGeom>
                  <a:avLst/>
                  <a:gdLst>
                    <a:gd name="T0" fmla="*/ 59 w 63"/>
                    <a:gd name="T1" fmla="*/ 37 h 37"/>
                    <a:gd name="T2" fmla="*/ 0 w 63"/>
                    <a:gd name="T3" fmla="*/ 31 h 37"/>
                    <a:gd name="T4" fmla="*/ 3 w 63"/>
                    <a:gd name="T5" fmla="*/ 0 h 37"/>
                    <a:gd name="T6" fmla="*/ 63 w 63"/>
                    <a:gd name="T7" fmla="*/ 7 h 37"/>
                    <a:gd name="T8" fmla="*/ 59 w 63"/>
                    <a:gd name="T9" fmla="*/ 37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3" h="37">
                      <a:moveTo>
                        <a:pt x="59" y="37"/>
                      </a:moveTo>
                      <a:lnTo>
                        <a:pt x="0" y="31"/>
                      </a:lnTo>
                      <a:lnTo>
                        <a:pt x="3" y="0"/>
                      </a:lnTo>
                      <a:lnTo>
                        <a:pt x="63" y="7"/>
                      </a:lnTo>
                      <a:lnTo>
                        <a:pt x="59" y="37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39" name="Freeform 261">
                  <a:extLst>
                    <a:ext uri="{FF2B5EF4-FFF2-40B4-BE49-F238E27FC236}">
                      <a16:creationId xmlns:a16="http://schemas.microsoft.com/office/drawing/2014/main" id="{47D663F0-8018-44F9-80F0-01A8B6986EC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344026" y="3327401"/>
                  <a:ext cx="106363" cy="76200"/>
                </a:xfrm>
                <a:custGeom>
                  <a:avLst/>
                  <a:gdLst>
                    <a:gd name="T0" fmla="*/ 57 w 67"/>
                    <a:gd name="T1" fmla="*/ 48 h 48"/>
                    <a:gd name="T2" fmla="*/ 0 w 67"/>
                    <a:gd name="T3" fmla="*/ 28 h 48"/>
                    <a:gd name="T4" fmla="*/ 9 w 67"/>
                    <a:gd name="T5" fmla="*/ 0 h 48"/>
                    <a:gd name="T6" fmla="*/ 67 w 67"/>
                    <a:gd name="T7" fmla="*/ 19 h 48"/>
                    <a:gd name="T8" fmla="*/ 57 w 67"/>
                    <a:gd name="T9" fmla="*/ 48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7" h="48">
                      <a:moveTo>
                        <a:pt x="57" y="48"/>
                      </a:moveTo>
                      <a:lnTo>
                        <a:pt x="0" y="28"/>
                      </a:lnTo>
                      <a:lnTo>
                        <a:pt x="9" y="0"/>
                      </a:lnTo>
                      <a:lnTo>
                        <a:pt x="67" y="19"/>
                      </a:lnTo>
                      <a:lnTo>
                        <a:pt x="57" y="48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40" name="Freeform 262">
                  <a:extLst>
                    <a:ext uri="{FF2B5EF4-FFF2-40B4-BE49-F238E27FC236}">
                      <a16:creationId xmlns:a16="http://schemas.microsoft.com/office/drawing/2014/main" id="{0101A9CE-A12E-44DC-AD06-F6FE1A728FC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271001" y="3486151"/>
                  <a:ext cx="104775" cy="92075"/>
                </a:xfrm>
                <a:custGeom>
                  <a:avLst/>
                  <a:gdLst>
                    <a:gd name="T0" fmla="*/ 51 w 66"/>
                    <a:gd name="T1" fmla="*/ 58 h 58"/>
                    <a:gd name="T2" fmla="*/ 0 w 66"/>
                    <a:gd name="T3" fmla="*/ 26 h 58"/>
                    <a:gd name="T4" fmla="*/ 14 w 66"/>
                    <a:gd name="T5" fmla="*/ 0 h 58"/>
                    <a:gd name="T6" fmla="*/ 66 w 66"/>
                    <a:gd name="T7" fmla="*/ 30 h 58"/>
                    <a:gd name="T8" fmla="*/ 51 w 66"/>
                    <a:gd name="T9" fmla="*/ 58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6" h="58">
                      <a:moveTo>
                        <a:pt x="51" y="58"/>
                      </a:moveTo>
                      <a:lnTo>
                        <a:pt x="0" y="26"/>
                      </a:lnTo>
                      <a:lnTo>
                        <a:pt x="14" y="0"/>
                      </a:lnTo>
                      <a:lnTo>
                        <a:pt x="66" y="30"/>
                      </a:lnTo>
                      <a:lnTo>
                        <a:pt x="51" y="58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41" name="Freeform 263">
                  <a:extLst>
                    <a:ext uri="{FF2B5EF4-FFF2-40B4-BE49-F238E27FC236}">
                      <a16:creationId xmlns:a16="http://schemas.microsoft.com/office/drawing/2014/main" id="{13CE1013-3E66-434C-A86D-CC70498A1AD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164638" y="3627438"/>
                  <a:ext cx="103188" cy="100013"/>
                </a:xfrm>
                <a:custGeom>
                  <a:avLst/>
                  <a:gdLst>
                    <a:gd name="T0" fmla="*/ 44 w 65"/>
                    <a:gd name="T1" fmla="*/ 63 h 63"/>
                    <a:gd name="T2" fmla="*/ 0 w 65"/>
                    <a:gd name="T3" fmla="*/ 24 h 63"/>
                    <a:gd name="T4" fmla="*/ 20 w 65"/>
                    <a:gd name="T5" fmla="*/ 0 h 63"/>
                    <a:gd name="T6" fmla="*/ 65 w 65"/>
                    <a:gd name="T7" fmla="*/ 41 h 63"/>
                    <a:gd name="T8" fmla="*/ 44 w 65"/>
                    <a:gd name="T9" fmla="*/ 63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5" h="63">
                      <a:moveTo>
                        <a:pt x="44" y="63"/>
                      </a:moveTo>
                      <a:lnTo>
                        <a:pt x="0" y="24"/>
                      </a:lnTo>
                      <a:lnTo>
                        <a:pt x="20" y="0"/>
                      </a:lnTo>
                      <a:lnTo>
                        <a:pt x="65" y="41"/>
                      </a:lnTo>
                      <a:lnTo>
                        <a:pt x="44" y="6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42" name="Freeform 264">
                  <a:extLst>
                    <a:ext uri="{FF2B5EF4-FFF2-40B4-BE49-F238E27FC236}">
                      <a16:creationId xmlns:a16="http://schemas.microsoft.com/office/drawing/2014/main" id="{8E6176CC-397B-4CA1-985C-7F8F098D305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031288" y="3748088"/>
                  <a:ext cx="98425" cy="106363"/>
                </a:xfrm>
                <a:custGeom>
                  <a:avLst/>
                  <a:gdLst>
                    <a:gd name="T0" fmla="*/ 37 w 62"/>
                    <a:gd name="T1" fmla="*/ 67 h 67"/>
                    <a:gd name="T2" fmla="*/ 0 w 62"/>
                    <a:gd name="T3" fmla="*/ 17 h 67"/>
                    <a:gd name="T4" fmla="*/ 26 w 62"/>
                    <a:gd name="T5" fmla="*/ 0 h 67"/>
                    <a:gd name="T6" fmla="*/ 62 w 62"/>
                    <a:gd name="T7" fmla="*/ 48 h 67"/>
                    <a:gd name="T8" fmla="*/ 37 w 62"/>
                    <a:gd name="T9" fmla="*/ 67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2" h="67">
                      <a:moveTo>
                        <a:pt x="37" y="67"/>
                      </a:moveTo>
                      <a:lnTo>
                        <a:pt x="0" y="17"/>
                      </a:lnTo>
                      <a:lnTo>
                        <a:pt x="26" y="0"/>
                      </a:lnTo>
                      <a:lnTo>
                        <a:pt x="62" y="48"/>
                      </a:lnTo>
                      <a:lnTo>
                        <a:pt x="37" y="67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43" name="Freeform 265">
                  <a:extLst>
                    <a:ext uri="{FF2B5EF4-FFF2-40B4-BE49-F238E27FC236}">
                      <a16:creationId xmlns:a16="http://schemas.microsoft.com/office/drawing/2014/main" id="{62E95CCC-CC2C-45B4-BF48-0CB536D00C6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355013" y="2192338"/>
                  <a:ext cx="65088" cy="103188"/>
                </a:xfrm>
                <a:custGeom>
                  <a:avLst/>
                  <a:gdLst>
                    <a:gd name="T0" fmla="*/ 11 w 41"/>
                    <a:gd name="T1" fmla="*/ 65 h 65"/>
                    <a:gd name="T2" fmla="*/ 0 w 41"/>
                    <a:gd name="T3" fmla="*/ 6 h 65"/>
                    <a:gd name="T4" fmla="*/ 30 w 41"/>
                    <a:gd name="T5" fmla="*/ 0 h 65"/>
                    <a:gd name="T6" fmla="*/ 41 w 41"/>
                    <a:gd name="T7" fmla="*/ 59 h 65"/>
                    <a:gd name="T8" fmla="*/ 11 w 41"/>
                    <a:gd name="T9" fmla="*/ 65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1" h="65">
                      <a:moveTo>
                        <a:pt x="11" y="65"/>
                      </a:moveTo>
                      <a:lnTo>
                        <a:pt x="0" y="6"/>
                      </a:lnTo>
                      <a:lnTo>
                        <a:pt x="30" y="0"/>
                      </a:lnTo>
                      <a:lnTo>
                        <a:pt x="41" y="59"/>
                      </a:lnTo>
                      <a:lnTo>
                        <a:pt x="11" y="65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44" name="Freeform 266">
                  <a:extLst>
                    <a:ext uri="{FF2B5EF4-FFF2-40B4-BE49-F238E27FC236}">
                      <a16:creationId xmlns:a16="http://schemas.microsoft.com/office/drawing/2014/main" id="{0C70349C-B12D-4A72-A795-29BFCAA01DC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172451" y="2244726"/>
                  <a:ext cx="82550" cy="109538"/>
                </a:xfrm>
                <a:custGeom>
                  <a:avLst/>
                  <a:gdLst>
                    <a:gd name="T0" fmla="*/ 24 w 52"/>
                    <a:gd name="T1" fmla="*/ 69 h 69"/>
                    <a:gd name="T2" fmla="*/ 0 w 52"/>
                    <a:gd name="T3" fmla="*/ 13 h 69"/>
                    <a:gd name="T4" fmla="*/ 28 w 52"/>
                    <a:gd name="T5" fmla="*/ 0 h 69"/>
                    <a:gd name="T6" fmla="*/ 52 w 52"/>
                    <a:gd name="T7" fmla="*/ 56 h 69"/>
                    <a:gd name="T8" fmla="*/ 24 w 52"/>
                    <a:gd name="T9" fmla="*/ 69 h 6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2" h="69">
                      <a:moveTo>
                        <a:pt x="24" y="69"/>
                      </a:moveTo>
                      <a:lnTo>
                        <a:pt x="0" y="13"/>
                      </a:lnTo>
                      <a:lnTo>
                        <a:pt x="28" y="0"/>
                      </a:lnTo>
                      <a:lnTo>
                        <a:pt x="52" y="56"/>
                      </a:lnTo>
                      <a:lnTo>
                        <a:pt x="24" y="69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45" name="Freeform 267">
                  <a:extLst>
                    <a:ext uri="{FF2B5EF4-FFF2-40B4-BE49-F238E27FC236}">
                      <a16:creationId xmlns:a16="http://schemas.microsoft.com/office/drawing/2014/main" id="{54AA60F1-EA14-4143-BBC2-403E43DB1EE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008938" y="2339976"/>
                  <a:ext cx="96838" cy="104775"/>
                </a:xfrm>
                <a:custGeom>
                  <a:avLst/>
                  <a:gdLst>
                    <a:gd name="T0" fmla="*/ 37 w 61"/>
                    <a:gd name="T1" fmla="*/ 66 h 66"/>
                    <a:gd name="T2" fmla="*/ 0 w 61"/>
                    <a:gd name="T3" fmla="*/ 16 h 66"/>
                    <a:gd name="T4" fmla="*/ 26 w 61"/>
                    <a:gd name="T5" fmla="*/ 0 h 66"/>
                    <a:gd name="T6" fmla="*/ 61 w 61"/>
                    <a:gd name="T7" fmla="*/ 48 h 66"/>
                    <a:gd name="T8" fmla="*/ 37 w 61"/>
                    <a:gd name="T9" fmla="*/ 66 h 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1" h="66">
                      <a:moveTo>
                        <a:pt x="37" y="66"/>
                      </a:moveTo>
                      <a:lnTo>
                        <a:pt x="0" y="16"/>
                      </a:lnTo>
                      <a:lnTo>
                        <a:pt x="26" y="0"/>
                      </a:lnTo>
                      <a:lnTo>
                        <a:pt x="61" y="48"/>
                      </a:lnTo>
                      <a:lnTo>
                        <a:pt x="37" y="66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46" name="Freeform 268">
                  <a:extLst>
                    <a:ext uri="{FF2B5EF4-FFF2-40B4-BE49-F238E27FC236}">
                      <a16:creationId xmlns:a16="http://schemas.microsoft.com/office/drawing/2014/main" id="{6A9FE813-E6B8-4C88-B669-F9DD4D594FA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870826" y="2462213"/>
                  <a:ext cx="101600" cy="100013"/>
                </a:xfrm>
                <a:custGeom>
                  <a:avLst/>
                  <a:gdLst>
                    <a:gd name="T0" fmla="*/ 44 w 64"/>
                    <a:gd name="T1" fmla="*/ 63 h 63"/>
                    <a:gd name="T2" fmla="*/ 0 w 64"/>
                    <a:gd name="T3" fmla="*/ 23 h 63"/>
                    <a:gd name="T4" fmla="*/ 20 w 64"/>
                    <a:gd name="T5" fmla="*/ 0 h 63"/>
                    <a:gd name="T6" fmla="*/ 64 w 64"/>
                    <a:gd name="T7" fmla="*/ 41 h 63"/>
                    <a:gd name="T8" fmla="*/ 44 w 64"/>
                    <a:gd name="T9" fmla="*/ 63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4" h="63">
                      <a:moveTo>
                        <a:pt x="44" y="63"/>
                      </a:moveTo>
                      <a:lnTo>
                        <a:pt x="0" y="23"/>
                      </a:lnTo>
                      <a:lnTo>
                        <a:pt x="20" y="0"/>
                      </a:lnTo>
                      <a:lnTo>
                        <a:pt x="64" y="41"/>
                      </a:lnTo>
                      <a:lnTo>
                        <a:pt x="44" y="6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47" name="Freeform 269">
                  <a:extLst>
                    <a:ext uri="{FF2B5EF4-FFF2-40B4-BE49-F238E27FC236}">
                      <a16:creationId xmlns:a16="http://schemas.microsoft.com/office/drawing/2014/main" id="{603A3DBC-6ECA-4B3E-A67C-A80CC97937D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761288" y="2616201"/>
                  <a:ext cx="106363" cy="87313"/>
                </a:xfrm>
                <a:custGeom>
                  <a:avLst/>
                  <a:gdLst>
                    <a:gd name="T0" fmla="*/ 52 w 67"/>
                    <a:gd name="T1" fmla="*/ 55 h 55"/>
                    <a:gd name="T2" fmla="*/ 0 w 67"/>
                    <a:gd name="T3" fmla="*/ 26 h 55"/>
                    <a:gd name="T4" fmla="*/ 15 w 67"/>
                    <a:gd name="T5" fmla="*/ 0 h 55"/>
                    <a:gd name="T6" fmla="*/ 67 w 67"/>
                    <a:gd name="T7" fmla="*/ 29 h 55"/>
                    <a:gd name="T8" fmla="*/ 52 w 67"/>
                    <a:gd name="T9" fmla="*/ 55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7" h="55">
                      <a:moveTo>
                        <a:pt x="52" y="55"/>
                      </a:moveTo>
                      <a:lnTo>
                        <a:pt x="0" y="26"/>
                      </a:lnTo>
                      <a:lnTo>
                        <a:pt x="15" y="0"/>
                      </a:lnTo>
                      <a:lnTo>
                        <a:pt x="67" y="29"/>
                      </a:lnTo>
                      <a:lnTo>
                        <a:pt x="52" y="55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48" name="Freeform 270">
                  <a:extLst>
                    <a:ext uri="{FF2B5EF4-FFF2-40B4-BE49-F238E27FC236}">
                      <a16:creationId xmlns:a16="http://schemas.microsoft.com/office/drawing/2014/main" id="{0F7E6AE9-98CA-4620-AB33-54F1E0AB17E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688263" y="2789238"/>
                  <a:ext cx="104775" cy="76200"/>
                </a:xfrm>
                <a:custGeom>
                  <a:avLst/>
                  <a:gdLst>
                    <a:gd name="T0" fmla="*/ 57 w 66"/>
                    <a:gd name="T1" fmla="*/ 48 h 48"/>
                    <a:gd name="T2" fmla="*/ 0 w 66"/>
                    <a:gd name="T3" fmla="*/ 28 h 48"/>
                    <a:gd name="T4" fmla="*/ 9 w 66"/>
                    <a:gd name="T5" fmla="*/ 0 h 48"/>
                    <a:gd name="T6" fmla="*/ 66 w 66"/>
                    <a:gd name="T7" fmla="*/ 19 h 48"/>
                    <a:gd name="T8" fmla="*/ 57 w 66"/>
                    <a:gd name="T9" fmla="*/ 48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6" h="48">
                      <a:moveTo>
                        <a:pt x="57" y="48"/>
                      </a:moveTo>
                      <a:lnTo>
                        <a:pt x="0" y="28"/>
                      </a:lnTo>
                      <a:lnTo>
                        <a:pt x="9" y="0"/>
                      </a:lnTo>
                      <a:lnTo>
                        <a:pt x="66" y="19"/>
                      </a:lnTo>
                      <a:lnTo>
                        <a:pt x="57" y="48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49" name="Freeform 271">
                  <a:extLst>
                    <a:ext uri="{FF2B5EF4-FFF2-40B4-BE49-F238E27FC236}">
                      <a16:creationId xmlns:a16="http://schemas.microsoft.com/office/drawing/2014/main" id="{25BBFA28-CF4E-4B44-8A5A-FD93F243A23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651751" y="2974976"/>
                  <a:ext cx="100013" cy="58738"/>
                </a:xfrm>
                <a:custGeom>
                  <a:avLst/>
                  <a:gdLst>
                    <a:gd name="T0" fmla="*/ 60 w 63"/>
                    <a:gd name="T1" fmla="*/ 37 h 37"/>
                    <a:gd name="T2" fmla="*/ 0 w 63"/>
                    <a:gd name="T3" fmla="*/ 31 h 37"/>
                    <a:gd name="T4" fmla="*/ 4 w 63"/>
                    <a:gd name="T5" fmla="*/ 0 h 37"/>
                    <a:gd name="T6" fmla="*/ 63 w 63"/>
                    <a:gd name="T7" fmla="*/ 7 h 37"/>
                    <a:gd name="T8" fmla="*/ 60 w 63"/>
                    <a:gd name="T9" fmla="*/ 37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3" h="37">
                      <a:moveTo>
                        <a:pt x="60" y="37"/>
                      </a:moveTo>
                      <a:lnTo>
                        <a:pt x="0" y="31"/>
                      </a:lnTo>
                      <a:lnTo>
                        <a:pt x="4" y="0"/>
                      </a:lnTo>
                      <a:lnTo>
                        <a:pt x="63" y="7"/>
                      </a:lnTo>
                      <a:lnTo>
                        <a:pt x="60" y="37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50" name="Freeform 272">
                  <a:extLst>
                    <a:ext uri="{FF2B5EF4-FFF2-40B4-BE49-F238E27FC236}">
                      <a16:creationId xmlns:a16="http://schemas.microsoft.com/office/drawing/2014/main" id="{7A84640E-2B53-4CC9-9204-FB7F96CBC07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651751" y="3157538"/>
                  <a:ext cx="100013" cy="58738"/>
                </a:xfrm>
                <a:custGeom>
                  <a:avLst/>
                  <a:gdLst>
                    <a:gd name="T0" fmla="*/ 4 w 63"/>
                    <a:gd name="T1" fmla="*/ 37 h 37"/>
                    <a:gd name="T2" fmla="*/ 0 w 63"/>
                    <a:gd name="T3" fmla="*/ 7 h 37"/>
                    <a:gd name="T4" fmla="*/ 60 w 63"/>
                    <a:gd name="T5" fmla="*/ 0 h 37"/>
                    <a:gd name="T6" fmla="*/ 63 w 63"/>
                    <a:gd name="T7" fmla="*/ 31 h 37"/>
                    <a:gd name="T8" fmla="*/ 4 w 63"/>
                    <a:gd name="T9" fmla="*/ 37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3" h="37">
                      <a:moveTo>
                        <a:pt x="4" y="37"/>
                      </a:moveTo>
                      <a:lnTo>
                        <a:pt x="0" y="7"/>
                      </a:lnTo>
                      <a:lnTo>
                        <a:pt x="60" y="0"/>
                      </a:lnTo>
                      <a:lnTo>
                        <a:pt x="63" y="31"/>
                      </a:lnTo>
                      <a:lnTo>
                        <a:pt x="4" y="37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51" name="Freeform 273">
                  <a:extLst>
                    <a:ext uri="{FF2B5EF4-FFF2-40B4-BE49-F238E27FC236}">
                      <a16:creationId xmlns:a16="http://schemas.microsoft.com/office/drawing/2014/main" id="{C6794764-EA44-4A35-B42E-D05D12C03F8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688263" y="3327401"/>
                  <a:ext cx="104775" cy="76200"/>
                </a:xfrm>
                <a:custGeom>
                  <a:avLst/>
                  <a:gdLst>
                    <a:gd name="T0" fmla="*/ 9 w 66"/>
                    <a:gd name="T1" fmla="*/ 48 h 48"/>
                    <a:gd name="T2" fmla="*/ 0 w 66"/>
                    <a:gd name="T3" fmla="*/ 19 h 48"/>
                    <a:gd name="T4" fmla="*/ 57 w 66"/>
                    <a:gd name="T5" fmla="*/ 0 h 48"/>
                    <a:gd name="T6" fmla="*/ 66 w 66"/>
                    <a:gd name="T7" fmla="*/ 30 h 48"/>
                    <a:gd name="T8" fmla="*/ 9 w 66"/>
                    <a:gd name="T9" fmla="*/ 48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6" h="48">
                      <a:moveTo>
                        <a:pt x="9" y="48"/>
                      </a:moveTo>
                      <a:lnTo>
                        <a:pt x="0" y="19"/>
                      </a:lnTo>
                      <a:lnTo>
                        <a:pt x="57" y="0"/>
                      </a:lnTo>
                      <a:lnTo>
                        <a:pt x="66" y="30"/>
                      </a:lnTo>
                      <a:lnTo>
                        <a:pt x="9" y="48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52" name="Freeform 274">
                  <a:extLst>
                    <a:ext uri="{FF2B5EF4-FFF2-40B4-BE49-F238E27FC236}">
                      <a16:creationId xmlns:a16="http://schemas.microsoft.com/office/drawing/2014/main" id="{ECABC25A-4518-4111-9BA8-1DD818093C7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761288" y="3486151"/>
                  <a:ext cx="106363" cy="92075"/>
                </a:xfrm>
                <a:custGeom>
                  <a:avLst/>
                  <a:gdLst>
                    <a:gd name="T0" fmla="*/ 15 w 67"/>
                    <a:gd name="T1" fmla="*/ 58 h 58"/>
                    <a:gd name="T2" fmla="*/ 0 w 67"/>
                    <a:gd name="T3" fmla="*/ 30 h 58"/>
                    <a:gd name="T4" fmla="*/ 52 w 67"/>
                    <a:gd name="T5" fmla="*/ 0 h 58"/>
                    <a:gd name="T6" fmla="*/ 67 w 67"/>
                    <a:gd name="T7" fmla="*/ 26 h 58"/>
                    <a:gd name="T8" fmla="*/ 15 w 67"/>
                    <a:gd name="T9" fmla="*/ 58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7" h="58">
                      <a:moveTo>
                        <a:pt x="15" y="58"/>
                      </a:moveTo>
                      <a:lnTo>
                        <a:pt x="0" y="30"/>
                      </a:lnTo>
                      <a:lnTo>
                        <a:pt x="52" y="0"/>
                      </a:lnTo>
                      <a:lnTo>
                        <a:pt x="67" y="26"/>
                      </a:lnTo>
                      <a:lnTo>
                        <a:pt x="15" y="58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53" name="Freeform 275">
                  <a:extLst>
                    <a:ext uri="{FF2B5EF4-FFF2-40B4-BE49-F238E27FC236}">
                      <a16:creationId xmlns:a16="http://schemas.microsoft.com/office/drawing/2014/main" id="{973AFCC4-A50F-4B89-9F66-FAF5189135C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870826" y="3627438"/>
                  <a:ext cx="101600" cy="100013"/>
                </a:xfrm>
                <a:custGeom>
                  <a:avLst/>
                  <a:gdLst>
                    <a:gd name="T0" fmla="*/ 20 w 64"/>
                    <a:gd name="T1" fmla="*/ 63 h 63"/>
                    <a:gd name="T2" fmla="*/ 0 w 64"/>
                    <a:gd name="T3" fmla="*/ 41 h 63"/>
                    <a:gd name="T4" fmla="*/ 44 w 64"/>
                    <a:gd name="T5" fmla="*/ 0 h 63"/>
                    <a:gd name="T6" fmla="*/ 64 w 64"/>
                    <a:gd name="T7" fmla="*/ 24 h 63"/>
                    <a:gd name="T8" fmla="*/ 20 w 64"/>
                    <a:gd name="T9" fmla="*/ 63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4" h="63">
                      <a:moveTo>
                        <a:pt x="20" y="63"/>
                      </a:moveTo>
                      <a:lnTo>
                        <a:pt x="0" y="41"/>
                      </a:lnTo>
                      <a:lnTo>
                        <a:pt x="44" y="0"/>
                      </a:lnTo>
                      <a:lnTo>
                        <a:pt x="64" y="24"/>
                      </a:lnTo>
                      <a:lnTo>
                        <a:pt x="20" y="6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54" name="Freeform 276">
                  <a:extLst>
                    <a:ext uri="{FF2B5EF4-FFF2-40B4-BE49-F238E27FC236}">
                      <a16:creationId xmlns:a16="http://schemas.microsoft.com/office/drawing/2014/main" id="{045645C6-3246-40C3-8BB4-A7D1CC944CB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008938" y="3748088"/>
                  <a:ext cx="96838" cy="106363"/>
                </a:xfrm>
                <a:custGeom>
                  <a:avLst/>
                  <a:gdLst>
                    <a:gd name="T0" fmla="*/ 26 w 61"/>
                    <a:gd name="T1" fmla="*/ 67 h 67"/>
                    <a:gd name="T2" fmla="*/ 0 w 61"/>
                    <a:gd name="T3" fmla="*/ 48 h 67"/>
                    <a:gd name="T4" fmla="*/ 37 w 61"/>
                    <a:gd name="T5" fmla="*/ 0 h 67"/>
                    <a:gd name="T6" fmla="*/ 61 w 61"/>
                    <a:gd name="T7" fmla="*/ 17 h 67"/>
                    <a:gd name="T8" fmla="*/ 26 w 61"/>
                    <a:gd name="T9" fmla="*/ 67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1" h="67">
                      <a:moveTo>
                        <a:pt x="26" y="67"/>
                      </a:moveTo>
                      <a:lnTo>
                        <a:pt x="0" y="48"/>
                      </a:lnTo>
                      <a:lnTo>
                        <a:pt x="37" y="0"/>
                      </a:lnTo>
                      <a:lnTo>
                        <a:pt x="61" y="17"/>
                      </a:lnTo>
                      <a:lnTo>
                        <a:pt x="26" y="67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3BFBFF1D-6A37-45C6-ACD9-C2169BB03779}"/>
                </a:ext>
              </a:extLst>
            </p:cNvPr>
            <p:cNvSpPr/>
            <p:nvPr/>
          </p:nvSpPr>
          <p:spPr>
            <a:xfrm>
              <a:off x="6953285" y="4801999"/>
              <a:ext cx="1476883" cy="149766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endParaRPr>
            </a:p>
          </p:txBody>
        </p:sp>
      </p:grp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F04A6D5B-C512-43F6-8853-D13870CA10B3}"/>
              </a:ext>
            </a:extLst>
          </p:cNvPr>
          <p:cNvCxnSpPr>
            <a:cxnSpLocks/>
            <a:stCxn id="7" idx="56"/>
          </p:cNvCxnSpPr>
          <p:nvPr userDrawn="1"/>
        </p:nvCxnSpPr>
        <p:spPr>
          <a:xfrm>
            <a:off x="8922139" y="4968552"/>
            <a:ext cx="3269861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0358A89B-C4A0-4BF6-A7C2-3F1B9632BFBB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4628982"/>
            <a:ext cx="7894216" cy="80992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 Placeholder 58">
            <a:extLst>
              <a:ext uri="{FF2B5EF4-FFF2-40B4-BE49-F238E27FC236}">
                <a16:creationId xmlns:a16="http://schemas.microsoft.com/office/drawing/2014/main" id="{D8A7A6F7-5F58-448E-ABB3-AECDCAC6588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52500" y="1206500"/>
            <a:ext cx="5337175" cy="2257425"/>
          </a:xfrm>
        </p:spPr>
        <p:txBody>
          <a:bodyPr/>
          <a:lstStyle>
            <a:lvl1pPr marL="0" indent="0">
              <a:buNone/>
              <a:defRPr sz="6600">
                <a:latin typeface="Open Sans" panose="020B0606030504020204" pitchFamily="34" charset="0"/>
              </a:defRPr>
            </a:lvl1pPr>
          </a:lstStyle>
          <a:p>
            <a:pPr lvl="0"/>
            <a:r>
              <a:rPr lang="en-US" sz="6600">
                <a:latin typeface="+mj-lt"/>
              </a:rPr>
              <a:t>Section Header</a:t>
            </a:r>
            <a:endParaRPr lang="en-US"/>
          </a:p>
        </p:txBody>
      </p:sp>
      <p:sp>
        <p:nvSpPr>
          <p:cNvPr id="57" name="Text Placeholder 7">
            <a:extLst>
              <a:ext uri="{FF2B5EF4-FFF2-40B4-BE49-F238E27FC236}">
                <a16:creationId xmlns:a16="http://schemas.microsoft.com/office/drawing/2014/main" id="{04B6CB5B-B81F-42AF-8BB5-4C7361B4D27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057884" y="219411"/>
            <a:ext cx="1635171" cy="237789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Insert Breadcrumbs</a:t>
            </a:r>
          </a:p>
        </p:txBody>
      </p:sp>
    </p:spTree>
    <p:extLst>
      <p:ext uri="{BB962C8B-B14F-4D97-AF65-F5344CB8AC3E}">
        <p14:creationId xmlns:p14="http://schemas.microsoft.com/office/powerpoint/2010/main" val="1572113306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Blank, No Background Graph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EFC2F98-5944-4C9B-A2C3-BF4DC0C7C3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58016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3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EFC2F98-5944-4C9B-A2C3-BF4DC0C7C3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548E64BE-C624-4D14-856D-522022E8C0D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057884" y="219411"/>
            <a:ext cx="1635171" cy="237789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Insert Breadcrumbs</a:t>
            </a:r>
          </a:p>
        </p:txBody>
      </p:sp>
    </p:spTree>
    <p:extLst>
      <p:ext uri="{BB962C8B-B14F-4D97-AF65-F5344CB8AC3E}">
        <p14:creationId xmlns:p14="http://schemas.microsoft.com/office/powerpoint/2010/main" val="2361558273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  <a:latin typeface="Open Sans" panose="020B0606030504020204" pitchFamily="34" charset="0"/>
              </a:rPr>
              <a:t>Presentation title</a:t>
            </a:r>
            <a:br>
              <a:rPr lang="en-US" sz="650" noProof="0">
                <a:solidFill>
                  <a:schemeClr val="bg1"/>
                </a:solidFill>
                <a:latin typeface="Open Sans" panose="020B0606030504020204" pitchFamily="34" charset="0"/>
              </a:rPr>
            </a:br>
            <a:r>
              <a:rPr lang="en-US" sz="650" noProof="0">
                <a:solidFill>
                  <a:schemeClr val="bg1"/>
                </a:solidFill>
                <a:latin typeface="Open Sans" panose="020B0606030504020204" pitchFamily="34" charset="0"/>
              </a:rPr>
              <a:t>[To edit, click View &gt; Slide Master &gt; Slide Master]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  <a:latin typeface="Open Sans" panose="020B0606030504020204" pitchFamily="34" charset="0"/>
              </a:rPr>
              <a:t>Member firms and DTTL: Insert appropriate copyright</a:t>
            </a:r>
            <a:br>
              <a:rPr lang="en-US" sz="650" noProof="0">
                <a:solidFill>
                  <a:schemeClr val="bg1"/>
                </a:solidFill>
                <a:latin typeface="Open Sans" panose="020B0606030504020204" pitchFamily="34" charset="0"/>
              </a:rPr>
            </a:br>
            <a:r>
              <a:rPr lang="en-US" sz="650" noProof="0">
                <a:solidFill>
                  <a:schemeClr val="bg1"/>
                </a:solidFill>
                <a:latin typeface="Open Sans" panose="020B0606030504020204" pitchFamily="34" charset="0"/>
              </a:rPr>
              <a:t>[To edit, click View &gt; Slide Master &gt; Slide Master]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  <a:latin typeface="Open Sans" panose="020B0606030504020204" pitchFamily="34" charset="0"/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  <a:latin typeface="Open Sans" panose="020B0606030504020204" pitchFamily="34" charset="0"/>
            </a:endParaRP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A1A8E23B-5E44-44B5-97F9-B78511FEB5E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057884" y="219411"/>
            <a:ext cx="1635171" cy="237789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Insert Breadcrumbs</a:t>
            </a:r>
          </a:p>
        </p:txBody>
      </p:sp>
    </p:spTree>
    <p:extLst>
      <p:ext uri="{BB962C8B-B14F-4D97-AF65-F5344CB8AC3E}">
        <p14:creationId xmlns:p14="http://schemas.microsoft.com/office/powerpoint/2010/main" val="11513485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18770FA5-1129-4257-8B59-E0FC9D213D3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057884" y="219411"/>
            <a:ext cx="1635171" cy="237789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Insert Breadcrumbs</a:t>
            </a:r>
          </a:p>
        </p:txBody>
      </p:sp>
    </p:spTree>
    <p:extLst>
      <p:ext uri="{BB962C8B-B14F-4D97-AF65-F5344CB8AC3E}">
        <p14:creationId xmlns:p14="http://schemas.microsoft.com/office/powerpoint/2010/main" val="168054069"/>
      </p:ext>
    </p:extLst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84B90C74-90CC-46A3-8D55-179833B74B5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057884" y="219411"/>
            <a:ext cx="1635171" cy="237789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Insert Breadcrumbs</a:t>
            </a:r>
          </a:p>
        </p:txBody>
      </p:sp>
    </p:spTree>
    <p:extLst>
      <p:ext uri="{BB962C8B-B14F-4D97-AF65-F5344CB8AC3E}">
        <p14:creationId xmlns:p14="http://schemas.microsoft.com/office/powerpoint/2010/main" val="4005424420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694944"/>
            <a:ext cx="10363200" cy="594360"/>
          </a:xfrm>
        </p:spPr>
        <p:txBody>
          <a:bodyPr vert="horz" lIns="0" tIns="45720" rIns="0" bIns="0" rtlCol="0" anchor="b" anchorCtr="0">
            <a:noAutofit/>
          </a:bodyPr>
          <a:lstStyle>
            <a:lvl1pPr>
              <a:defRPr lang="en-US" sz="3600" b="0" spc="-75" dirty="0">
                <a:latin typeface="Open Sans" panose="020B0606030504020204" pitchFamily="34" charset="0"/>
              </a:defRPr>
            </a:lvl1pPr>
          </a:lstStyle>
          <a:p>
            <a:pPr lvl="0" defTabSz="685800">
              <a:lnSpc>
                <a:spcPct val="85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7F762002-6144-4E9B-9CB9-164E7D92D63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057884" y="219411"/>
            <a:ext cx="1635171" cy="237789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Insert Breadcrumbs</a:t>
            </a:r>
          </a:p>
        </p:txBody>
      </p:sp>
    </p:spTree>
    <p:extLst>
      <p:ext uri="{BB962C8B-B14F-4D97-AF65-F5344CB8AC3E}">
        <p14:creationId xmlns:p14="http://schemas.microsoft.com/office/powerpoint/2010/main" val="3327873464"/>
      </p:ext>
    </p:extLst>
  </p:cSld>
  <p:clrMapOvr>
    <a:masterClrMapping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, Breadcrumb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694944"/>
            <a:ext cx="10363200" cy="594360"/>
          </a:xfrm>
        </p:spPr>
        <p:txBody>
          <a:bodyPr vert="horz" lIns="0" tIns="45720" rIns="0" bIns="0" rtlCol="0" anchor="b" anchorCtr="0">
            <a:noAutofit/>
          </a:bodyPr>
          <a:lstStyle>
            <a:lvl1pPr>
              <a:defRPr lang="en-US" sz="3600" b="0" spc="-75" dirty="0">
                <a:latin typeface="Open Sans" panose="020B0606030504020204" pitchFamily="34" charset="0"/>
              </a:defRPr>
            </a:lvl1pPr>
          </a:lstStyle>
          <a:p>
            <a:pPr lvl="0" defTabSz="685800">
              <a:lnSpc>
                <a:spcPct val="85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FD545910-EC58-4E59-AC9B-9F096DAB358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4971" y="466344"/>
            <a:ext cx="3355848" cy="203200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900" b="1" kern="0" cap="all" spc="250" baseline="0" dirty="0">
                <a:solidFill>
                  <a:schemeClr val="accent5">
                    <a:lumMod val="60000"/>
                    <a:lumOff val="40000"/>
                  </a:schemeClr>
                </a:solidFill>
                <a:ea typeface="Nexa Black" charset="0"/>
                <a:cs typeface="Nexa Black" charset="0"/>
              </a:defRPr>
            </a:lvl1pPr>
          </a:lstStyle>
          <a:p>
            <a:pPr marL="228600" lvl="0" indent="-228600"/>
            <a:r>
              <a:rPr lang="en-US"/>
              <a:t>BREADCRUMBS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04A5A246-C58B-4FA0-8270-8F4FFEAFD1D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057884" y="219411"/>
            <a:ext cx="1635171" cy="237789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Insert Breadcrumbs</a:t>
            </a:r>
          </a:p>
        </p:txBody>
      </p:sp>
    </p:spTree>
    <p:extLst>
      <p:ext uri="{BB962C8B-B14F-4D97-AF65-F5344CB8AC3E}">
        <p14:creationId xmlns:p14="http://schemas.microsoft.com/office/powerpoint/2010/main" val="413869119"/>
      </p:ext>
    </p:extLst>
  </p:cSld>
  <p:clrMapOvr>
    <a:masterClrMapping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, Right, Subhead &amp; Breadcrumb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B912B5A-4EFE-4F10-9322-C971DDF230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638422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7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B912B5A-4EFE-4F10-9322-C971DDF230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CF43516-C935-4785-8727-EA48BADEDCC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hronicle Display Black" pitchFamily="50" charset="0"/>
              <a:sym typeface="Chronicle Display Black" pitchFamily="50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DFAB292-D9D0-4411-8456-90C02DB401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0" y="669544"/>
            <a:ext cx="6137512" cy="38139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838CA61B-8DBB-4395-9E9F-405E5CBF79F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4806950" cy="6858000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accent6"/>
                </a:solidFill>
              </a:defRPr>
            </a:lvl1pPr>
          </a:lstStyle>
          <a:p>
            <a:r>
              <a:rPr lang="en-US"/>
              <a:t>Click to insert pictur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6650516E-641C-4EFA-8CA7-4E0C60B42CE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97500" y="1050936"/>
            <a:ext cx="6137512" cy="381392"/>
          </a:xfrm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sz="1400"/>
              <a:t>Click to edit Master text styles</a:t>
            </a:r>
            <a:endParaRPr lang="en-US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E0280C66-47F5-4458-AA31-95CF3025E37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397500" y="466344"/>
            <a:ext cx="3355848" cy="203200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900" b="1" kern="0" cap="all" spc="250" baseline="0" dirty="0">
                <a:solidFill>
                  <a:schemeClr val="accent5">
                    <a:lumMod val="60000"/>
                    <a:lumOff val="40000"/>
                  </a:schemeClr>
                </a:solidFill>
                <a:ea typeface="Nexa Black" charset="0"/>
                <a:cs typeface="Nexa Black" charset="0"/>
              </a:defRPr>
            </a:lvl1pPr>
          </a:lstStyle>
          <a:p>
            <a:pPr marL="228600" lvl="0" indent="-228600"/>
            <a:r>
              <a:rPr lang="en-US"/>
              <a:t>BREADCRUMBS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69C52800-F727-414B-A473-3311DC8EE83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057884" y="219411"/>
            <a:ext cx="1635171" cy="237789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Insert Breadcrumbs</a:t>
            </a:r>
          </a:p>
        </p:txBody>
      </p:sp>
    </p:spTree>
    <p:extLst>
      <p:ext uri="{BB962C8B-B14F-4D97-AF65-F5344CB8AC3E}">
        <p14:creationId xmlns:p14="http://schemas.microsoft.com/office/powerpoint/2010/main" val="1391116015"/>
      </p:ext>
    </p:extLst>
  </p:cSld>
  <p:clrMapOvr>
    <a:masterClrMapping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Divider">
    <p:bg>
      <p:bgPr>
        <a:solidFill>
          <a:srgbClr val="FDD3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44B521E-45B1-4DF5-AF83-CF81FF72A0A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93429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1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44B521E-45B1-4DF5-AF83-CF81FF72A0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3">
            <a:extLst>
              <a:ext uri="{FF2B5EF4-FFF2-40B4-BE49-F238E27FC236}">
                <a16:creationId xmlns:a16="http://schemas.microsoft.com/office/drawing/2014/main" id="{B9F01BCD-D0E7-4C16-818C-FDF6C61207F4}"/>
              </a:ext>
            </a:extLst>
          </p:cNvPr>
          <p:cNvGrpSpPr/>
          <p:nvPr userDrawn="1"/>
        </p:nvGrpSpPr>
        <p:grpSpPr>
          <a:xfrm>
            <a:off x="6591045" y="2239972"/>
            <a:ext cx="2452738" cy="2728580"/>
            <a:chOff x="6953285" y="3278976"/>
            <a:chExt cx="1506831" cy="1682464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035AD732-4189-4F7D-8A59-BEA1A0C74690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291345" y="3278976"/>
              <a:ext cx="1168771" cy="1682464"/>
              <a:chOff x="5614264" y="2194216"/>
              <a:chExt cx="2755900" cy="3967163"/>
            </a:xfrm>
          </p:grpSpPr>
          <p:sp>
            <p:nvSpPr>
              <p:cNvPr id="7" name="Freeform 55">
                <a:extLst>
                  <a:ext uri="{FF2B5EF4-FFF2-40B4-BE49-F238E27FC236}">
                    <a16:creationId xmlns:a16="http://schemas.microsoft.com/office/drawing/2014/main" id="{4E44469E-381F-4E01-A7CB-1C0D52CCBF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14264" y="2194216"/>
                <a:ext cx="2755900" cy="3967163"/>
              </a:xfrm>
              <a:custGeom>
                <a:avLst/>
                <a:gdLst>
                  <a:gd name="T0" fmla="*/ 1484 w 1736"/>
                  <a:gd name="T1" fmla="*/ 1601 h 2499"/>
                  <a:gd name="T2" fmla="*/ 1675 w 1736"/>
                  <a:gd name="T3" fmla="*/ 999 h 2499"/>
                  <a:gd name="T4" fmla="*/ 1696 w 1736"/>
                  <a:gd name="T5" fmla="*/ 908 h 2499"/>
                  <a:gd name="T6" fmla="*/ 1705 w 1736"/>
                  <a:gd name="T7" fmla="*/ 815 h 2499"/>
                  <a:gd name="T8" fmla="*/ 1705 w 1736"/>
                  <a:gd name="T9" fmla="*/ 745 h 2499"/>
                  <a:gd name="T10" fmla="*/ 1690 w 1736"/>
                  <a:gd name="T11" fmla="*/ 632 h 2499"/>
                  <a:gd name="T12" fmla="*/ 1660 w 1736"/>
                  <a:gd name="T13" fmla="*/ 526 h 2499"/>
                  <a:gd name="T14" fmla="*/ 1614 w 1736"/>
                  <a:gd name="T15" fmla="*/ 424 h 2499"/>
                  <a:gd name="T16" fmla="*/ 1555 w 1736"/>
                  <a:gd name="T17" fmla="*/ 334 h 2499"/>
                  <a:gd name="T18" fmla="*/ 1484 w 1736"/>
                  <a:gd name="T19" fmla="*/ 252 h 2499"/>
                  <a:gd name="T20" fmla="*/ 1403 w 1736"/>
                  <a:gd name="T21" fmla="*/ 180 h 2499"/>
                  <a:gd name="T22" fmla="*/ 1310 w 1736"/>
                  <a:gd name="T23" fmla="*/ 122 h 2499"/>
                  <a:gd name="T24" fmla="*/ 1210 w 1736"/>
                  <a:gd name="T25" fmla="*/ 76 h 2499"/>
                  <a:gd name="T26" fmla="*/ 1103 w 1736"/>
                  <a:gd name="T27" fmla="*/ 46 h 2499"/>
                  <a:gd name="T28" fmla="*/ 990 w 1736"/>
                  <a:gd name="T29" fmla="*/ 32 h 2499"/>
                  <a:gd name="T30" fmla="*/ 914 w 1736"/>
                  <a:gd name="T31" fmla="*/ 32 h 2499"/>
                  <a:gd name="T32" fmla="*/ 801 w 1736"/>
                  <a:gd name="T33" fmla="*/ 46 h 2499"/>
                  <a:gd name="T34" fmla="*/ 693 w 1736"/>
                  <a:gd name="T35" fmla="*/ 76 h 2499"/>
                  <a:gd name="T36" fmla="*/ 593 w 1736"/>
                  <a:gd name="T37" fmla="*/ 122 h 2499"/>
                  <a:gd name="T38" fmla="*/ 500 w 1736"/>
                  <a:gd name="T39" fmla="*/ 180 h 2499"/>
                  <a:gd name="T40" fmla="*/ 419 w 1736"/>
                  <a:gd name="T41" fmla="*/ 252 h 2499"/>
                  <a:gd name="T42" fmla="*/ 349 w 1736"/>
                  <a:gd name="T43" fmla="*/ 334 h 2499"/>
                  <a:gd name="T44" fmla="*/ 289 w 1736"/>
                  <a:gd name="T45" fmla="*/ 424 h 2499"/>
                  <a:gd name="T46" fmla="*/ 243 w 1736"/>
                  <a:gd name="T47" fmla="*/ 526 h 2499"/>
                  <a:gd name="T48" fmla="*/ 213 w 1736"/>
                  <a:gd name="T49" fmla="*/ 632 h 2499"/>
                  <a:gd name="T50" fmla="*/ 198 w 1736"/>
                  <a:gd name="T51" fmla="*/ 745 h 2499"/>
                  <a:gd name="T52" fmla="*/ 197 w 1736"/>
                  <a:gd name="T53" fmla="*/ 882 h 2499"/>
                  <a:gd name="T54" fmla="*/ 265 w 1736"/>
                  <a:gd name="T55" fmla="*/ 1845 h 2499"/>
                  <a:gd name="T56" fmla="*/ 658 w 1736"/>
                  <a:gd name="T57" fmla="*/ 2188 h 2499"/>
                  <a:gd name="T58" fmla="*/ 198 w 1736"/>
                  <a:gd name="T59" fmla="*/ 1391 h 2499"/>
                  <a:gd name="T60" fmla="*/ 167 w 1736"/>
                  <a:gd name="T61" fmla="*/ 784 h 2499"/>
                  <a:gd name="T62" fmla="*/ 172 w 1736"/>
                  <a:gd name="T63" fmla="*/ 704 h 2499"/>
                  <a:gd name="T64" fmla="*/ 193 w 1736"/>
                  <a:gd name="T65" fmla="*/ 589 h 2499"/>
                  <a:gd name="T66" fmla="*/ 230 w 1736"/>
                  <a:gd name="T67" fmla="*/ 480 h 2499"/>
                  <a:gd name="T68" fmla="*/ 282 w 1736"/>
                  <a:gd name="T69" fmla="*/ 378 h 2499"/>
                  <a:gd name="T70" fmla="*/ 347 w 1736"/>
                  <a:gd name="T71" fmla="*/ 285 h 2499"/>
                  <a:gd name="T72" fmla="*/ 424 w 1736"/>
                  <a:gd name="T73" fmla="*/ 204 h 2499"/>
                  <a:gd name="T74" fmla="*/ 513 w 1736"/>
                  <a:gd name="T75" fmla="*/ 133 h 2499"/>
                  <a:gd name="T76" fmla="*/ 612 w 1736"/>
                  <a:gd name="T77" fmla="*/ 78 h 2499"/>
                  <a:gd name="T78" fmla="*/ 719 w 1736"/>
                  <a:gd name="T79" fmla="*/ 35 h 2499"/>
                  <a:gd name="T80" fmla="*/ 832 w 1736"/>
                  <a:gd name="T81" fmla="*/ 9 h 2499"/>
                  <a:gd name="T82" fmla="*/ 953 w 1736"/>
                  <a:gd name="T83" fmla="*/ 0 h 2499"/>
                  <a:gd name="T84" fmla="*/ 1032 w 1736"/>
                  <a:gd name="T85" fmla="*/ 4 h 2499"/>
                  <a:gd name="T86" fmla="*/ 1147 w 1736"/>
                  <a:gd name="T87" fmla="*/ 24 h 2499"/>
                  <a:gd name="T88" fmla="*/ 1256 w 1736"/>
                  <a:gd name="T89" fmla="*/ 61 h 2499"/>
                  <a:gd name="T90" fmla="*/ 1358 w 1736"/>
                  <a:gd name="T91" fmla="*/ 113 h 2499"/>
                  <a:gd name="T92" fmla="*/ 1451 w 1736"/>
                  <a:gd name="T93" fmla="*/ 180 h 2499"/>
                  <a:gd name="T94" fmla="*/ 1532 w 1736"/>
                  <a:gd name="T95" fmla="*/ 258 h 2499"/>
                  <a:gd name="T96" fmla="*/ 1601 w 1736"/>
                  <a:gd name="T97" fmla="*/ 346 h 2499"/>
                  <a:gd name="T98" fmla="*/ 1658 w 1736"/>
                  <a:gd name="T99" fmla="*/ 445 h 2499"/>
                  <a:gd name="T100" fmla="*/ 1701 w 1736"/>
                  <a:gd name="T101" fmla="*/ 552 h 2499"/>
                  <a:gd name="T102" fmla="*/ 1727 w 1736"/>
                  <a:gd name="T103" fmla="*/ 665 h 2499"/>
                  <a:gd name="T104" fmla="*/ 1736 w 1736"/>
                  <a:gd name="T105" fmla="*/ 784 h 2499"/>
                  <a:gd name="T106" fmla="*/ 1733 w 1736"/>
                  <a:gd name="T107" fmla="*/ 849 h 2499"/>
                  <a:gd name="T108" fmla="*/ 1720 w 1736"/>
                  <a:gd name="T109" fmla="*/ 945 h 2499"/>
                  <a:gd name="T110" fmla="*/ 1694 w 1736"/>
                  <a:gd name="T111" fmla="*/ 1038 h 2499"/>
                  <a:gd name="T112" fmla="*/ 1625 w 1736"/>
                  <a:gd name="T113" fmla="*/ 2499 h 24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736" h="2499">
                    <a:moveTo>
                      <a:pt x="1625" y="2499"/>
                    </a:moveTo>
                    <a:lnTo>
                      <a:pt x="1484" y="1603"/>
                    </a:lnTo>
                    <a:lnTo>
                      <a:pt x="1484" y="1601"/>
                    </a:lnTo>
                    <a:lnTo>
                      <a:pt x="1664" y="1028"/>
                    </a:lnTo>
                    <a:lnTo>
                      <a:pt x="1664" y="1028"/>
                    </a:lnTo>
                    <a:lnTo>
                      <a:pt x="1675" y="999"/>
                    </a:lnTo>
                    <a:lnTo>
                      <a:pt x="1683" y="969"/>
                    </a:lnTo>
                    <a:lnTo>
                      <a:pt x="1690" y="939"/>
                    </a:lnTo>
                    <a:lnTo>
                      <a:pt x="1696" y="908"/>
                    </a:lnTo>
                    <a:lnTo>
                      <a:pt x="1699" y="878"/>
                    </a:lnTo>
                    <a:lnTo>
                      <a:pt x="1703" y="847"/>
                    </a:lnTo>
                    <a:lnTo>
                      <a:pt x="1705" y="815"/>
                    </a:lnTo>
                    <a:lnTo>
                      <a:pt x="1705" y="784"/>
                    </a:lnTo>
                    <a:lnTo>
                      <a:pt x="1705" y="784"/>
                    </a:lnTo>
                    <a:lnTo>
                      <a:pt x="1705" y="745"/>
                    </a:lnTo>
                    <a:lnTo>
                      <a:pt x="1701" y="708"/>
                    </a:lnTo>
                    <a:lnTo>
                      <a:pt x="1697" y="669"/>
                    </a:lnTo>
                    <a:lnTo>
                      <a:pt x="1690" y="632"/>
                    </a:lnTo>
                    <a:lnTo>
                      <a:pt x="1683" y="597"/>
                    </a:lnTo>
                    <a:lnTo>
                      <a:pt x="1671" y="560"/>
                    </a:lnTo>
                    <a:lnTo>
                      <a:pt x="1660" y="526"/>
                    </a:lnTo>
                    <a:lnTo>
                      <a:pt x="1645" y="491"/>
                    </a:lnTo>
                    <a:lnTo>
                      <a:pt x="1631" y="458"/>
                    </a:lnTo>
                    <a:lnTo>
                      <a:pt x="1614" y="424"/>
                    </a:lnTo>
                    <a:lnTo>
                      <a:pt x="1595" y="393"/>
                    </a:lnTo>
                    <a:lnTo>
                      <a:pt x="1577" y="363"/>
                    </a:lnTo>
                    <a:lnTo>
                      <a:pt x="1555" y="334"/>
                    </a:lnTo>
                    <a:lnTo>
                      <a:pt x="1532" y="306"/>
                    </a:lnTo>
                    <a:lnTo>
                      <a:pt x="1510" y="278"/>
                    </a:lnTo>
                    <a:lnTo>
                      <a:pt x="1484" y="252"/>
                    </a:lnTo>
                    <a:lnTo>
                      <a:pt x="1458" y="226"/>
                    </a:lnTo>
                    <a:lnTo>
                      <a:pt x="1431" y="202"/>
                    </a:lnTo>
                    <a:lnTo>
                      <a:pt x="1403" y="180"/>
                    </a:lnTo>
                    <a:lnTo>
                      <a:pt x="1373" y="159"/>
                    </a:lnTo>
                    <a:lnTo>
                      <a:pt x="1342" y="139"/>
                    </a:lnTo>
                    <a:lnTo>
                      <a:pt x="1310" y="122"/>
                    </a:lnTo>
                    <a:lnTo>
                      <a:pt x="1279" y="106"/>
                    </a:lnTo>
                    <a:lnTo>
                      <a:pt x="1245" y="89"/>
                    </a:lnTo>
                    <a:lnTo>
                      <a:pt x="1210" y="76"/>
                    </a:lnTo>
                    <a:lnTo>
                      <a:pt x="1175" y="65"/>
                    </a:lnTo>
                    <a:lnTo>
                      <a:pt x="1140" y="54"/>
                    </a:lnTo>
                    <a:lnTo>
                      <a:pt x="1103" y="46"/>
                    </a:lnTo>
                    <a:lnTo>
                      <a:pt x="1066" y="39"/>
                    </a:lnTo>
                    <a:lnTo>
                      <a:pt x="1028" y="35"/>
                    </a:lnTo>
                    <a:lnTo>
                      <a:pt x="990" y="32"/>
                    </a:lnTo>
                    <a:lnTo>
                      <a:pt x="953" y="30"/>
                    </a:lnTo>
                    <a:lnTo>
                      <a:pt x="953" y="30"/>
                    </a:lnTo>
                    <a:lnTo>
                      <a:pt x="914" y="32"/>
                    </a:lnTo>
                    <a:lnTo>
                      <a:pt x="875" y="35"/>
                    </a:lnTo>
                    <a:lnTo>
                      <a:pt x="838" y="39"/>
                    </a:lnTo>
                    <a:lnTo>
                      <a:pt x="801" y="46"/>
                    </a:lnTo>
                    <a:lnTo>
                      <a:pt x="764" y="54"/>
                    </a:lnTo>
                    <a:lnTo>
                      <a:pt x="728" y="65"/>
                    </a:lnTo>
                    <a:lnTo>
                      <a:pt x="693" y="76"/>
                    </a:lnTo>
                    <a:lnTo>
                      <a:pt x="658" y="89"/>
                    </a:lnTo>
                    <a:lnTo>
                      <a:pt x="625" y="106"/>
                    </a:lnTo>
                    <a:lnTo>
                      <a:pt x="593" y="122"/>
                    </a:lnTo>
                    <a:lnTo>
                      <a:pt x="562" y="139"/>
                    </a:lnTo>
                    <a:lnTo>
                      <a:pt x="530" y="159"/>
                    </a:lnTo>
                    <a:lnTo>
                      <a:pt x="500" y="180"/>
                    </a:lnTo>
                    <a:lnTo>
                      <a:pt x="473" y="202"/>
                    </a:lnTo>
                    <a:lnTo>
                      <a:pt x="445" y="226"/>
                    </a:lnTo>
                    <a:lnTo>
                      <a:pt x="419" y="252"/>
                    </a:lnTo>
                    <a:lnTo>
                      <a:pt x="395" y="278"/>
                    </a:lnTo>
                    <a:lnTo>
                      <a:pt x="371" y="306"/>
                    </a:lnTo>
                    <a:lnTo>
                      <a:pt x="349" y="334"/>
                    </a:lnTo>
                    <a:lnTo>
                      <a:pt x="326" y="363"/>
                    </a:lnTo>
                    <a:lnTo>
                      <a:pt x="308" y="393"/>
                    </a:lnTo>
                    <a:lnTo>
                      <a:pt x="289" y="424"/>
                    </a:lnTo>
                    <a:lnTo>
                      <a:pt x="273" y="458"/>
                    </a:lnTo>
                    <a:lnTo>
                      <a:pt x="258" y="491"/>
                    </a:lnTo>
                    <a:lnTo>
                      <a:pt x="243" y="526"/>
                    </a:lnTo>
                    <a:lnTo>
                      <a:pt x="232" y="560"/>
                    </a:lnTo>
                    <a:lnTo>
                      <a:pt x="223" y="597"/>
                    </a:lnTo>
                    <a:lnTo>
                      <a:pt x="213" y="632"/>
                    </a:lnTo>
                    <a:lnTo>
                      <a:pt x="206" y="669"/>
                    </a:lnTo>
                    <a:lnTo>
                      <a:pt x="202" y="708"/>
                    </a:lnTo>
                    <a:lnTo>
                      <a:pt x="198" y="745"/>
                    </a:lnTo>
                    <a:lnTo>
                      <a:pt x="198" y="784"/>
                    </a:lnTo>
                    <a:lnTo>
                      <a:pt x="197" y="878"/>
                    </a:lnTo>
                    <a:lnTo>
                      <a:pt x="197" y="882"/>
                    </a:lnTo>
                    <a:lnTo>
                      <a:pt x="41" y="1360"/>
                    </a:lnTo>
                    <a:lnTo>
                      <a:pt x="226" y="1360"/>
                    </a:lnTo>
                    <a:lnTo>
                      <a:pt x="265" y="1845"/>
                    </a:lnTo>
                    <a:lnTo>
                      <a:pt x="632" y="1801"/>
                    </a:lnTo>
                    <a:lnTo>
                      <a:pt x="688" y="2183"/>
                    </a:lnTo>
                    <a:lnTo>
                      <a:pt x="658" y="2188"/>
                    </a:lnTo>
                    <a:lnTo>
                      <a:pt x="606" y="1834"/>
                    </a:lnTo>
                    <a:lnTo>
                      <a:pt x="237" y="1879"/>
                    </a:lnTo>
                    <a:lnTo>
                      <a:pt x="198" y="1391"/>
                    </a:lnTo>
                    <a:lnTo>
                      <a:pt x="0" y="1391"/>
                    </a:lnTo>
                    <a:lnTo>
                      <a:pt x="167" y="875"/>
                    </a:lnTo>
                    <a:lnTo>
                      <a:pt x="167" y="784"/>
                    </a:lnTo>
                    <a:lnTo>
                      <a:pt x="167" y="784"/>
                    </a:lnTo>
                    <a:lnTo>
                      <a:pt x="169" y="743"/>
                    </a:lnTo>
                    <a:lnTo>
                      <a:pt x="172" y="704"/>
                    </a:lnTo>
                    <a:lnTo>
                      <a:pt x="176" y="665"/>
                    </a:lnTo>
                    <a:lnTo>
                      <a:pt x="184" y="626"/>
                    </a:lnTo>
                    <a:lnTo>
                      <a:pt x="193" y="589"/>
                    </a:lnTo>
                    <a:lnTo>
                      <a:pt x="202" y="552"/>
                    </a:lnTo>
                    <a:lnTo>
                      <a:pt x="215" y="515"/>
                    </a:lnTo>
                    <a:lnTo>
                      <a:pt x="230" y="480"/>
                    </a:lnTo>
                    <a:lnTo>
                      <a:pt x="245" y="445"/>
                    </a:lnTo>
                    <a:lnTo>
                      <a:pt x="263" y="411"/>
                    </a:lnTo>
                    <a:lnTo>
                      <a:pt x="282" y="378"/>
                    </a:lnTo>
                    <a:lnTo>
                      <a:pt x="302" y="346"/>
                    </a:lnTo>
                    <a:lnTo>
                      <a:pt x="324" y="315"/>
                    </a:lnTo>
                    <a:lnTo>
                      <a:pt x="347" y="285"/>
                    </a:lnTo>
                    <a:lnTo>
                      <a:pt x="371" y="258"/>
                    </a:lnTo>
                    <a:lnTo>
                      <a:pt x="397" y="230"/>
                    </a:lnTo>
                    <a:lnTo>
                      <a:pt x="424" y="204"/>
                    </a:lnTo>
                    <a:lnTo>
                      <a:pt x="454" y="180"/>
                    </a:lnTo>
                    <a:lnTo>
                      <a:pt x="484" y="156"/>
                    </a:lnTo>
                    <a:lnTo>
                      <a:pt x="513" y="133"/>
                    </a:lnTo>
                    <a:lnTo>
                      <a:pt x="545" y="113"/>
                    </a:lnTo>
                    <a:lnTo>
                      <a:pt x="578" y="95"/>
                    </a:lnTo>
                    <a:lnTo>
                      <a:pt x="612" y="78"/>
                    </a:lnTo>
                    <a:lnTo>
                      <a:pt x="647" y="61"/>
                    </a:lnTo>
                    <a:lnTo>
                      <a:pt x="682" y="48"/>
                    </a:lnTo>
                    <a:lnTo>
                      <a:pt x="719" y="35"/>
                    </a:lnTo>
                    <a:lnTo>
                      <a:pt x="756" y="24"/>
                    </a:lnTo>
                    <a:lnTo>
                      <a:pt x="793" y="17"/>
                    </a:lnTo>
                    <a:lnTo>
                      <a:pt x="832" y="9"/>
                    </a:lnTo>
                    <a:lnTo>
                      <a:pt x="871" y="4"/>
                    </a:lnTo>
                    <a:lnTo>
                      <a:pt x="912" y="2"/>
                    </a:lnTo>
                    <a:lnTo>
                      <a:pt x="953" y="0"/>
                    </a:lnTo>
                    <a:lnTo>
                      <a:pt x="953" y="0"/>
                    </a:lnTo>
                    <a:lnTo>
                      <a:pt x="991" y="2"/>
                    </a:lnTo>
                    <a:lnTo>
                      <a:pt x="1032" y="4"/>
                    </a:lnTo>
                    <a:lnTo>
                      <a:pt x="1071" y="9"/>
                    </a:lnTo>
                    <a:lnTo>
                      <a:pt x="1110" y="17"/>
                    </a:lnTo>
                    <a:lnTo>
                      <a:pt x="1147" y="24"/>
                    </a:lnTo>
                    <a:lnTo>
                      <a:pt x="1184" y="35"/>
                    </a:lnTo>
                    <a:lnTo>
                      <a:pt x="1221" y="48"/>
                    </a:lnTo>
                    <a:lnTo>
                      <a:pt x="1256" y="61"/>
                    </a:lnTo>
                    <a:lnTo>
                      <a:pt x="1292" y="78"/>
                    </a:lnTo>
                    <a:lnTo>
                      <a:pt x="1325" y="95"/>
                    </a:lnTo>
                    <a:lnTo>
                      <a:pt x="1358" y="113"/>
                    </a:lnTo>
                    <a:lnTo>
                      <a:pt x="1390" y="133"/>
                    </a:lnTo>
                    <a:lnTo>
                      <a:pt x="1421" y="156"/>
                    </a:lnTo>
                    <a:lnTo>
                      <a:pt x="1451" y="180"/>
                    </a:lnTo>
                    <a:lnTo>
                      <a:pt x="1479" y="204"/>
                    </a:lnTo>
                    <a:lnTo>
                      <a:pt x="1507" y="230"/>
                    </a:lnTo>
                    <a:lnTo>
                      <a:pt x="1532" y="258"/>
                    </a:lnTo>
                    <a:lnTo>
                      <a:pt x="1557" y="285"/>
                    </a:lnTo>
                    <a:lnTo>
                      <a:pt x="1581" y="315"/>
                    </a:lnTo>
                    <a:lnTo>
                      <a:pt x="1601" y="346"/>
                    </a:lnTo>
                    <a:lnTo>
                      <a:pt x="1621" y="378"/>
                    </a:lnTo>
                    <a:lnTo>
                      <a:pt x="1642" y="411"/>
                    </a:lnTo>
                    <a:lnTo>
                      <a:pt x="1658" y="445"/>
                    </a:lnTo>
                    <a:lnTo>
                      <a:pt x="1673" y="480"/>
                    </a:lnTo>
                    <a:lnTo>
                      <a:pt x="1688" y="515"/>
                    </a:lnTo>
                    <a:lnTo>
                      <a:pt x="1701" y="552"/>
                    </a:lnTo>
                    <a:lnTo>
                      <a:pt x="1710" y="589"/>
                    </a:lnTo>
                    <a:lnTo>
                      <a:pt x="1720" y="626"/>
                    </a:lnTo>
                    <a:lnTo>
                      <a:pt x="1727" y="665"/>
                    </a:lnTo>
                    <a:lnTo>
                      <a:pt x="1733" y="704"/>
                    </a:lnTo>
                    <a:lnTo>
                      <a:pt x="1734" y="745"/>
                    </a:lnTo>
                    <a:lnTo>
                      <a:pt x="1736" y="784"/>
                    </a:lnTo>
                    <a:lnTo>
                      <a:pt x="1736" y="784"/>
                    </a:lnTo>
                    <a:lnTo>
                      <a:pt x="1734" y="817"/>
                    </a:lnTo>
                    <a:lnTo>
                      <a:pt x="1733" y="849"/>
                    </a:lnTo>
                    <a:lnTo>
                      <a:pt x="1731" y="882"/>
                    </a:lnTo>
                    <a:lnTo>
                      <a:pt x="1725" y="913"/>
                    </a:lnTo>
                    <a:lnTo>
                      <a:pt x="1720" y="945"/>
                    </a:lnTo>
                    <a:lnTo>
                      <a:pt x="1712" y="976"/>
                    </a:lnTo>
                    <a:lnTo>
                      <a:pt x="1703" y="1008"/>
                    </a:lnTo>
                    <a:lnTo>
                      <a:pt x="1694" y="1038"/>
                    </a:lnTo>
                    <a:lnTo>
                      <a:pt x="1516" y="1604"/>
                    </a:lnTo>
                    <a:lnTo>
                      <a:pt x="1657" y="2494"/>
                    </a:lnTo>
                    <a:lnTo>
                      <a:pt x="1625" y="249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grpSp>
            <p:nvGrpSpPr>
              <p:cNvPr id="8" name="Group 7">
                <a:extLst>
                  <a:ext uri="{FF2B5EF4-FFF2-40B4-BE49-F238E27FC236}">
                    <a16:creationId xmlns:a16="http://schemas.microsoft.com/office/drawing/2014/main" id="{1884EB90-856A-4B3D-8C41-380E81E27851}"/>
                  </a:ext>
                </a:extLst>
              </p:cNvPr>
              <p:cNvGrpSpPr/>
              <p:nvPr/>
            </p:nvGrpSpPr>
            <p:grpSpPr>
              <a:xfrm>
                <a:off x="6207989" y="2521241"/>
                <a:ext cx="1833563" cy="3140075"/>
                <a:chOff x="7651751" y="2178051"/>
                <a:chExt cx="1833563" cy="3140075"/>
              </a:xfrm>
            </p:grpSpPr>
            <p:sp>
              <p:nvSpPr>
                <p:cNvPr id="9" name="Rectangle 8">
                  <a:extLst>
                    <a:ext uri="{FF2B5EF4-FFF2-40B4-BE49-F238E27FC236}">
                      <a16:creationId xmlns:a16="http://schemas.microsoft.com/office/drawing/2014/main" id="{5FF9FA55-6F13-46E9-B9A9-A10B60C42CD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4475163"/>
                  <a:ext cx="49213" cy="46038"/>
                </a:xfrm>
                <a:prstGeom prst="rect">
                  <a:avLst/>
                </a:prstGeom>
                <a:solidFill>
                  <a:srgbClr val="52585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0" name="Rectangle 9">
                  <a:extLst>
                    <a:ext uri="{FF2B5EF4-FFF2-40B4-BE49-F238E27FC236}">
                      <a16:creationId xmlns:a16="http://schemas.microsoft.com/office/drawing/2014/main" id="{5E05CB57-E35B-471D-BA9D-6AE183DE802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4575176"/>
                  <a:ext cx="49213" cy="46038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1" name="Rectangle 10">
                  <a:extLst>
                    <a:ext uri="{FF2B5EF4-FFF2-40B4-BE49-F238E27FC236}">
                      <a16:creationId xmlns:a16="http://schemas.microsoft.com/office/drawing/2014/main" id="{917B6F65-886C-4190-9FA3-150088DB411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4675188"/>
                  <a:ext cx="49213" cy="46038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2" name="Rectangle 11">
                  <a:extLst>
                    <a:ext uri="{FF2B5EF4-FFF2-40B4-BE49-F238E27FC236}">
                      <a16:creationId xmlns:a16="http://schemas.microsoft.com/office/drawing/2014/main" id="{D04EF3EF-7492-4924-B3E4-4CB85BE2936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4775201"/>
                  <a:ext cx="49213" cy="46038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3" name="Rectangle 12">
                  <a:extLst>
                    <a:ext uri="{FF2B5EF4-FFF2-40B4-BE49-F238E27FC236}">
                      <a16:creationId xmlns:a16="http://schemas.microsoft.com/office/drawing/2014/main" id="{DB852891-76E9-4DE8-99BB-C456338C691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4872038"/>
                  <a:ext cx="49213" cy="49213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4" name="Rectangle 13">
                  <a:extLst>
                    <a:ext uri="{FF2B5EF4-FFF2-40B4-BE49-F238E27FC236}">
                      <a16:creationId xmlns:a16="http://schemas.microsoft.com/office/drawing/2014/main" id="{76F966E4-BDBB-4EA2-AF2B-CE2D055C5C0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4972051"/>
                  <a:ext cx="49213" cy="49213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5" name="Rectangle 14">
                  <a:extLst>
                    <a:ext uri="{FF2B5EF4-FFF2-40B4-BE49-F238E27FC236}">
                      <a16:creationId xmlns:a16="http://schemas.microsoft.com/office/drawing/2014/main" id="{47D17988-145F-4083-A8C8-26E7E72E0F0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5072063"/>
                  <a:ext cx="49213" cy="49213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6" name="Rectangle 15">
                  <a:extLst>
                    <a:ext uri="{FF2B5EF4-FFF2-40B4-BE49-F238E27FC236}">
                      <a16:creationId xmlns:a16="http://schemas.microsoft.com/office/drawing/2014/main" id="{6132E3B0-8425-460B-B1F1-FCACFFD24B4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5172076"/>
                  <a:ext cx="49213" cy="49213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7" name="Rectangle 16">
                  <a:extLst>
                    <a:ext uri="{FF2B5EF4-FFF2-40B4-BE49-F238E27FC236}">
                      <a16:creationId xmlns:a16="http://schemas.microsoft.com/office/drawing/2014/main" id="{389052EF-3A92-42FF-A8F5-AE5C61CDE12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5272088"/>
                  <a:ext cx="49213" cy="46038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8" name="Freeform 240">
                  <a:extLst>
                    <a:ext uri="{FF2B5EF4-FFF2-40B4-BE49-F238E27FC236}">
                      <a16:creationId xmlns:a16="http://schemas.microsoft.com/office/drawing/2014/main" id="{2C35CD08-6BC0-4B8B-B687-87817D9AA06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881938" y="2409826"/>
                  <a:ext cx="1373188" cy="1693863"/>
                </a:xfrm>
                <a:custGeom>
                  <a:avLst/>
                  <a:gdLst>
                    <a:gd name="T0" fmla="*/ 434 w 865"/>
                    <a:gd name="T1" fmla="*/ 0 h 1067"/>
                    <a:gd name="T2" fmla="*/ 389 w 865"/>
                    <a:gd name="T3" fmla="*/ 2 h 1067"/>
                    <a:gd name="T4" fmla="*/ 304 w 865"/>
                    <a:gd name="T5" fmla="*/ 19 h 1067"/>
                    <a:gd name="T6" fmla="*/ 226 w 865"/>
                    <a:gd name="T7" fmla="*/ 52 h 1067"/>
                    <a:gd name="T8" fmla="*/ 157 w 865"/>
                    <a:gd name="T9" fmla="*/ 98 h 1067"/>
                    <a:gd name="T10" fmla="*/ 98 w 865"/>
                    <a:gd name="T11" fmla="*/ 158 h 1067"/>
                    <a:gd name="T12" fmla="*/ 52 w 865"/>
                    <a:gd name="T13" fmla="*/ 226 h 1067"/>
                    <a:gd name="T14" fmla="*/ 20 w 865"/>
                    <a:gd name="T15" fmla="*/ 304 h 1067"/>
                    <a:gd name="T16" fmla="*/ 2 w 865"/>
                    <a:gd name="T17" fmla="*/ 387 h 1067"/>
                    <a:gd name="T18" fmla="*/ 0 w 865"/>
                    <a:gd name="T19" fmla="*/ 432 h 1067"/>
                    <a:gd name="T20" fmla="*/ 0 w 865"/>
                    <a:gd name="T21" fmla="*/ 456 h 1067"/>
                    <a:gd name="T22" fmla="*/ 6 w 865"/>
                    <a:gd name="T23" fmla="*/ 502 h 1067"/>
                    <a:gd name="T24" fmla="*/ 15 w 865"/>
                    <a:gd name="T25" fmla="*/ 547 h 1067"/>
                    <a:gd name="T26" fmla="*/ 30 w 865"/>
                    <a:gd name="T27" fmla="*/ 589 h 1067"/>
                    <a:gd name="T28" fmla="*/ 48 w 865"/>
                    <a:gd name="T29" fmla="*/ 630 h 1067"/>
                    <a:gd name="T30" fmla="*/ 70 w 865"/>
                    <a:gd name="T31" fmla="*/ 669 h 1067"/>
                    <a:gd name="T32" fmla="*/ 96 w 865"/>
                    <a:gd name="T33" fmla="*/ 704 h 1067"/>
                    <a:gd name="T34" fmla="*/ 141 w 865"/>
                    <a:gd name="T35" fmla="*/ 752 h 1067"/>
                    <a:gd name="T36" fmla="*/ 154 w 865"/>
                    <a:gd name="T37" fmla="*/ 763 h 1067"/>
                    <a:gd name="T38" fmla="*/ 178 w 865"/>
                    <a:gd name="T39" fmla="*/ 787 h 1067"/>
                    <a:gd name="T40" fmla="*/ 219 w 865"/>
                    <a:gd name="T41" fmla="*/ 843 h 1067"/>
                    <a:gd name="T42" fmla="*/ 246 w 865"/>
                    <a:gd name="T43" fmla="*/ 906 h 1067"/>
                    <a:gd name="T44" fmla="*/ 261 w 865"/>
                    <a:gd name="T45" fmla="*/ 975 h 1067"/>
                    <a:gd name="T46" fmla="*/ 263 w 865"/>
                    <a:gd name="T47" fmla="*/ 1067 h 1067"/>
                    <a:gd name="T48" fmla="*/ 602 w 865"/>
                    <a:gd name="T49" fmla="*/ 1067 h 1067"/>
                    <a:gd name="T50" fmla="*/ 602 w 865"/>
                    <a:gd name="T51" fmla="*/ 1012 h 1067"/>
                    <a:gd name="T52" fmla="*/ 610 w 865"/>
                    <a:gd name="T53" fmla="*/ 939 h 1067"/>
                    <a:gd name="T54" fmla="*/ 632 w 865"/>
                    <a:gd name="T55" fmla="*/ 873 h 1067"/>
                    <a:gd name="T56" fmla="*/ 667 w 865"/>
                    <a:gd name="T57" fmla="*/ 813 h 1067"/>
                    <a:gd name="T58" fmla="*/ 711 w 865"/>
                    <a:gd name="T59" fmla="*/ 763 h 1067"/>
                    <a:gd name="T60" fmla="*/ 724 w 865"/>
                    <a:gd name="T61" fmla="*/ 752 h 1067"/>
                    <a:gd name="T62" fmla="*/ 756 w 865"/>
                    <a:gd name="T63" fmla="*/ 721 h 1067"/>
                    <a:gd name="T64" fmla="*/ 784 w 865"/>
                    <a:gd name="T65" fmla="*/ 686 h 1067"/>
                    <a:gd name="T66" fmla="*/ 808 w 865"/>
                    <a:gd name="T67" fmla="*/ 648 h 1067"/>
                    <a:gd name="T68" fmla="*/ 828 w 865"/>
                    <a:gd name="T69" fmla="*/ 610 h 1067"/>
                    <a:gd name="T70" fmla="*/ 843 w 865"/>
                    <a:gd name="T71" fmla="*/ 569 h 1067"/>
                    <a:gd name="T72" fmla="*/ 856 w 865"/>
                    <a:gd name="T73" fmla="*/ 524 h 1067"/>
                    <a:gd name="T74" fmla="*/ 863 w 865"/>
                    <a:gd name="T75" fmla="*/ 480 h 1067"/>
                    <a:gd name="T76" fmla="*/ 865 w 865"/>
                    <a:gd name="T77" fmla="*/ 432 h 1067"/>
                    <a:gd name="T78" fmla="*/ 865 w 865"/>
                    <a:gd name="T79" fmla="*/ 409 h 1067"/>
                    <a:gd name="T80" fmla="*/ 856 w 865"/>
                    <a:gd name="T81" fmla="*/ 345 h 1067"/>
                    <a:gd name="T82" fmla="*/ 832 w 865"/>
                    <a:gd name="T83" fmla="*/ 263 h 1067"/>
                    <a:gd name="T84" fmla="*/ 791 w 865"/>
                    <a:gd name="T85" fmla="*/ 191 h 1067"/>
                    <a:gd name="T86" fmla="*/ 739 w 865"/>
                    <a:gd name="T87" fmla="*/ 126 h 1067"/>
                    <a:gd name="T88" fmla="*/ 674 w 865"/>
                    <a:gd name="T89" fmla="*/ 74 h 1067"/>
                    <a:gd name="T90" fmla="*/ 600 w 865"/>
                    <a:gd name="T91" fmla="*/ 33 h 1067"/>
                    <a:gd name="T92" fmla="*/ 521 w 865"/>
                    <a:gd name="T93" fmla="*/ 7 h 1067"/>
                    <a:gd name="T94" fmla="*/ 456 w 865"/>
                    <a:gd name="T95" fmla="*/ 0 h 1067"/>
                    <a:gd name="T96" fmla="*/ 434 w 865"/>
                    <a:gd name="T97" fmla="*/ 0 h 10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865" h="1067">
                      <a:moveTo>
                        <a:pt x="434" y="0"/>
                      </a:moveTo>
                      <a:lnTo>
                        <a:pt x="434" y="0"/>
                      </a:lnTo>
                      <a:lnTo>
                        <a:pt x="411" y="0"/>
                      </a:lnTo>
                      <a:lnTo>
                        <a:pt x="389" y="2"/>
                      </a:lnTo>
                      <a:lnTo>
                        <a:pt x="345" y="7"/>
                      </a:lnTo>
                      <a:lnTo>
                        <a:pt x="304" y="19"/>
                      </a:lnTo>
                      <a:lnTo>
                        <a:pt x="265" y="33"/>
                      </a:lnTo>
                      <a:lnTo>
                        <a:pt x="226" y="52"/>
                      </a:lnTo>
                      <a:lnTo>
                        <a:pt x="191" y="74"/>
                      </a:lnTo>
                      <a:lnTo>
                        <a:pt x="157" y="98"/>
                      </a:lnTo>
                      <a:lnTo>
                        <a:pt x="126" y="126"/>
                      </a:lnTo>
                      <a:lnTo>
                        <a:pt x="98" y="158"/>
                      </a:lnTo>
                      <a:lnTo>
                        <a:pt x="74" y="191"/>
                      </a:lnTo>
                      <a:lnTo>
                        <a:pt x="52" y="226"/>
                      </a:lnTo>
                      <a:lnTo>
                        <a:pt x="33" y="263"/>
                      </a:lnTo>
                      <a:lnTo>
                        <a:pt x="20" y="304"/>
                      </a:lnTo>
                      <a:lnTo>
                        <a:pt x="9" y="345"/>
                      </a:lnTo>
                      <a:lnTo>
                        <a:pt x="2" y="387"/>
                      </a:lnTo>
                      <a:lnTo>
                        <a:pt x="0" y="409"/>
                      </a:lnTo>
                      <a:lnTo>
                        <a:pt x="0" y="432"/>
                      </a:lnTo>
                      <a:lnTo>
                        <a:pt x="0" y="432"/>
                      </a:lnTo>
                      <a:lnTo>
                        <a:pt x="0" y="456"/>
                      </a:lnTo>
                      <a:lnTo>
                        <a:pt x="2" y="480"/>
                      </a:lnTo>
                      <a:lnTo>
                        <a:pt x="6" y="502"/>
                      </a:lnTo>
                      <a:lnTo>
                        <a:pt x="9" y="524"/>
                      </a:lnTo>
                      <a:lnTo>
                        <a:pt x="15" y="547"/>
                      </a:lnTo>
                      <a:lnTo>
                        <a:pt x="22" y="569"/>
                      </a:lnTo>
                      <a:lnTo>
                        <a:pt x="30" y="589"/>
                      </a:lnTo>
                      <a:lnTo>
                        <a:pt x="39" y="610"/>
                      </a:lnTo>
                      <a:lnTo>
                        <a:pt x="48" y="630"/>
                      </a:lnTo>
                      <a:lnTo>
                        <a:pt x="59" y="648"/>
                      </a:lnTo>
                      <a:lnTo>
                        <a:pt x="70" y="669"/>
                      </a:lnTo>
                      <a:lnTo>
                        <a:pt x="83" y="686"/>
                      </a:lnTo>
                      <a:lnTo>
                        <a:pt x="96" y="704"/>
                      </a:lnTo>
                      <a:lnTo>
                        <a:pt x="109" y="721"/>
                      </a:lnTo>
                      <a:lnTo>
                        <a:pt x="141" y="752"/>
                      </a:lnTo>
                      <a:lnTo>
                        <a:pt x="141" y="752"/>
                      </a:lnTo>
                      <a:lnTo>
                        <a:pt x="154" y="763"/>
                      </a:lnTo>
                      <a:lnTo>
                        <a:pt x="154" y="763"/>
                      </a:lnTo>
                      <a:lnTo>
                        <a:pt x="178" y="787"/>
                      </a:lnTo>
                      <a:lnTo>
                        <a:pt x="200" y="813"/>
                      </a:lnTo>
                      <a:lnTo>
                        <a:pt x="219" y="843"/>
                      </a:lnTo>
                      <a:lnTo>
                        <a:pt x="233" y="873"/>
                      </a:lnTo>
                      <a:lnTo>
                        <a:pt x="246" y="906"/>
                      </a:lnTo>
                      <a:lnTo>
                        <a:pt x="256" y="939"/>
                      </a:lnTo>
                      <a:lnTo>
                        <a:pt x="261" y="975"/>
                      </a:lnTo>
                      <a:lnTo>
                        <a:pt x="263" y="1012"/>
                      </a:lnTo>
                      <a:lnTo>
                        <a:pt x="263" y="1067"/>
                      </a:lnTo>
                      <a:lnTo>
                        <a:pt x="434" y="1067"/>
                      </a:lnTo>
                      <a:lnTo>
                        <a:pt x="602" y="1067"/>
                      </a:lnTo>
                      <a:lnTo>
                        <a:pt x="602" y="1012"/>
                      </a:lnTo>
                      <a:lnTo>
                        <a:pt x="602" y="1012"/>
                      </a:lnTo>
                      <a:lnTo>
                        <a:pt x="604" y="975"/>
                      </a:lnTo>
                      <a:lnTo>
                        <a:pt x="610" y="939"/>
                      </a:lnTo>
                      <a:lnTo>
                        <a:pt x="619" y="906"/>
                      </a:lnTo>
                      <a:lnTo>
                        <a:pt x="632" y="873"/>
                      </a:lnTo>
                      <a:lnTo>
                        <a:pt x="647" y="843"/>
                      </a:lnTo>
                      <a:lnTo>
                        <a:pt x="667" y="813"/>
                      </a:lnTo>
                      <a:lnTo>
                        <a:pt x="687" y="787"/>
                      </a:lnTo>
                      <a:lnTo>
                        <a:pt x="711" y="763"/>
                      </a:lnTo>
                      <a:lnTo>
                        <a:pt x="711" y="763"/>
                      </a:lnTo>
                      <a:lnTo>
                        <a:pt x="724" y="752"/>
                      </a:lnTo>
                      <a:lnTo>
                        <a:pt x="724" y="752"/>
                      </a:lnTo>
                      <a:lnTo>
                        <a:pt x="756" y="721"/>
                      </a:lnTo>
                      <a:lnTo>
                        <a:pt x="769" y="704"/>
                      </a:lnTo>
                      <a:lnTo>
                        <a:pt x="784" y="686"/>
                      </a:lnTo>
                      <a:lnTo>
                        <a:pt x="795" y="669"/>
                      </a:lnTo>
                      <a:lnTo>
                        <a:pt x="808" y="648"/>
                      </a:lnTo>
                      <a:lnTo>
                        <a:pt x="817" y="630"/>
                      </a:lnTo>
                      <a:lnTo>
                        <a:pt x="828" y="610"/>
                      </a:lnTo>
                      <a:lnTo>
                        <a:pt x="836" y="589"/>
                      </a:lnTo>
                      <a:lnTo>
                        <a:pt x="843" y="569"/>
                      </a:lnTo>
                      <a:lnTo>
                        <a:pt x="850" y="547"/>
                      </a:lnTo>
                      <a:lnTo>
                        <a:pt x="856" y="524"/>
                      </a:lnTo>
                      <a:lnTo>
                        <a:pt x="860" y="502"/>
                      </a:lnTo>
                      <a:lnTo>
                        <a:pt x="863" y="480"/>
                      </a:lnTo>
                      <a:lnTo>
                        <a:pt x="865" y="456"/>
                      </a:lnTo>
                      <a:lnTo>
                        <a:pt x="865" y="432"/>
                      </a:lnTo>
                      <a:lnTo>
                        <a:pt x="865" y="432"/>
                      </a:lnTo>
                      <a:lnTo>
                        <a:pt x="865" y="409"/>
                      </a:lnTo>
                      <a:lnTo>
                        <a:pt x="863" y="387"/>
                      </a:lnTo>
                      <a:lnTo>
                        <a:pt x="856" y="345"/>
                      </a:lnTo>
                      <a:lnTo>
                        <a:pt x="847" y="304"/>
                      </a:lnTo>
                      <a:lnTo>
                        <a:pt x="832" y="263"/>
                      </a:lnTo>
                      <a:lnTo>
                        <a:pt x="813" y="226"/>
                      </a:lnTo>
                      <a:lnTo>
                        <a:pt x="791" y="191"/>
                      </a:lnTo>
                      <a:lnTo>
                        <a:pt x="767" y="158"/>
                      </a:lnTo>
                      <a:lnTo>
                        <a:pt x="739" y="126"/>
                      </a:lnTo>
                      <a:lnTo>
                        <a:pt x="708" y="98"/>
                      </a:lnTo>
                      <a:lnTo>
                        <a:pt x="674" y="74"/>
                      </a:lnTo>
                      <a:lnTo>
                        <a:pt x="639" y="52"/>
                      </a:lnTo>
                      <a:lnTo>
                        <a:pt x="600" y="33"/>
                      </a:lnTo>
                      <a:lnTo>
                        <a:pt x="561" y="19"/>
                      </a:lnTo>
                      <a:lnTo>
                        <a:pt x="521" y="7"/>
                      </a:lnTo>
                      <a:lnTo>
                        <a:pt x="476" y="2"/>
                      </a:lnTo>
                      <a:lnTo>
                        <a:pt x="456" y="0"/>
                      </a:lnTo>
                      <a:lnTo>
                        <a:pt x="434" y="0"/>
                      </a:lnTo>
                      <a:lnTo>
                        <a:pt x="434" y="0"/>
                      </a:lnTo>
                      <a:close/>
                    </a:path>
                  </a:pathLst>
                </a:custGeom>
                <a:solidFill>
                  <a:srgbClr val="FDD300"/>
                </a:solidFill>
                <a:ln w="222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9" name="Freeform 241">
                  <a:extLst>
                    <a:ext uri="{FF2B5EF4-FFF2-40B4-BE49-F238E27FC236}">
                      <a16:creationId xmlns:a16="http://schemas.microsoft.com/office/drawing/2014/main" id="{48363F46-C1B1-4332-8335-A2F8F0FAF7A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275638" y="4079876"/>
                  <a:ext cx="585788" cy="333375"/>
                </a:xfrm>
                <a:custGeom>
                  <a:avLst/>
                  <a:gdLst>
                    <a:gd name="T0" fmla="*/ 369 w 369"/>
                    <a:gd name="T1" fmla="*/ 210 h 210"/>
                    <a:gd name="T2" fmla="*/ 0 w 369"/>
                    <a:gd name="T3" fmla="*/ 210 h 210"/>
                    <a:gd name="T4" fmla="*/ 0 w 369"/>
                    <a:gd name="T5" fmla="*/ 0 h 210"/>
                    <a:gd name="T6" fmla="*/ 369 w 369"/>
                    <a:gd name="T7" fmla="*/ 0 h 210"/>
                    <a:gd name="T8" fmla="*/ 369 w 369"/>
                    <a:gd name="T9" fmla="*/ 210 h 210"/>
                    <a:gd name="T10" fmla="*/ 30 w 369"/>
                    <a:gd name="T11" fmla="*/ 180 h 210"/>
                    <a:gd name="T12" fmla="*/ 339 w 369"/>
                    <a:gd name="T13" fmla="*/ 180 h 210"/>
                    <a:gd name="T14" fmla="*/ 339 w 369"/>
                    <a:gd name="T15" fmla="*/ 32 h 210"/>
                    <a:gd name="T16" fmla="*/ 30 w 369"/>
                    <a:gd name="T17" fmla="*/ 32 h 210"/>
                    <a:gd name="T18" fmla="*/ 30 w 369"/>
                    <a:gd name="T19" fmla="*/ 180 h 2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69" h="210">
                      <a:moveTo>
                        <a:pt x="369" y="210"/>
                      </a:moveTo>
                      <a:lnTo>
                        <a:pt x="0" y="210"/>
                      </a:lnTo>
                      <a:lnTo>
                        <a:pt x="0" y="0"/>
                      </a:lnTo>
                      <a:lnTo>
                        <a:pt x="369" y="0"/>
                      </a:lnTo>
                      <a:lnTo>
                        <a:pt x="369" y="210"/>
                      </a:lnTo>
                      <a:close/>
                      <a:moveTo>
                        <a:pt x="30" y="180"/>
                      </a:moveTo>
                      <a:lnTo>
                        <a:pt x="339" y="180"/>
                      </a:lnTo>
                      <a:lnTo>
                        <a:pt x="339" y="32"/>
                      </a:lnTo>
                      <a:lnTo>
                        <a:pt x="30" y="32"/>
                      </a:lnTo>
                      <a:lnTo>
                        <a:pt x="30" y="18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20" name="Rectangle 19">
                  <a:extLst>
                    <a:ext uri="{FF2B5EF4-FFF2-40B4-BE49-F238E27FC236}">
                      <a16:creationId xmlns:a16="http://schemas.microsoft.com/office/drawing/2014/main" id="{44F504D5-7A7E-4ACC-BCF5-A92044FCFA7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250238" y="4079876"/>
                  <a:ext cx="638175" cy="50800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21" name="Rectangle 20">
                  <a:extLst>
                    <a:ext uri="{FF2B5EF4-FFF2-40B4-BE49-F238E27FC236}">
                      <a16:creationId xmlns:a16="http://schemas.microsoft.com/office/drawing/2014/main" id="{C1CBD50D-402F-4749-99F6-343DEE0C6B5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250238" y="4175126"/>
                  <a:ext cx="638175" cy="49213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22" name="Rectangle 21">
                  <a:extLst>
                    <a:ext uri="{FF2B5EF4-FFF2-40B4-BE49-F238E27FC236}">
                      <a16:creationId xmlns:a16="http://schemas.microsoft.com/office/drawing/2014/main" id="{AF44BB8C-3666-440F-AA8D-1F244442274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250238" y="4271963"/>
                  <a:ext cx="638175" cy="46038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23" name="Rectangle 22">
                  <a:extLst>
                    <a:ext uri="{FF2B5EF4-FFF2-40B4-BE49-F238E27FC236}">
                      <a16:creationId xmlns:a16="http://schemas.microsoft.com/office/drawing/2014/main" id="{E9F10FF6-3852-4486-BFA3-65DD08A32BF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250238" y="4365626"/>
                  <a:ext cx="638175" cy="47625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24" name="Freeform 246">
                  <a:extLst>
                    <a:ext uri="{FF2B5EF4-FFF2-40B4-BE49-F238E27FC236}">
                      <a16:creationId xmlns:a16="http://schemas.microsoft.com/office/drawing/2014/main" id="{FA179A60-74EB-4200-9514-9AD1B05F8A6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443913" y="4365626"/>
                  <a:ext cx="249238" cy="155575"/>
                </a:xfrm>
                <a:custGeom>
                  <a:avLst/>
                  <a:gdLst>
                    <a:gd name="T0" fmla="*/ 157 w 157"/>
                    <a:gd name="T1" fmla="*/ 98 h 98"/>
                    <a:gd name="T2" fmla="*/ 0 w 157"/>
                    <a:gd name="T3" fmla="*/ 98 h 98"/>
                    <a:gd name="T4" fmla="*/ 0 w 157"/>
                    <a:gd name="T5" fmla="*/ 0 h 98"/>
                    <a:gd name="T6" fmla="*/ 157 w 157"/>
                    <a:gd name="T7" fmla="*/ 0 h 98"/>
                    <a:gd name="T8" fmla="*/ 157 w 157"/>
                    <a:gd name="T9" fmla="*/ 98 h 98"/>
                    <a:gd name="T10" fmla="*/ 30 w 157"/>
                    <a:gd name="T11" fmla="*/ 69 h 98"/>
                    <a:gd name="T12" fmla="*/ 128 w 157"/>
                    <a:gd name="T13" fmla="*/ 69 h 98"/>
                    <a:gd name="T14" fmla="*/ 128 w 157"/>
                    <a:gd name="T15" fmla="*/ 30 h 98"/>
                    <a:gd name="T16" fmla="*/ 30 w 157"/>
                    <a:gd name="T17" fmla="*/ 30 h 98"/>
                    <a:gd name="T18" fmla="*/ 30 w 157"/>
                    <a:gd name="T19" fmla="*/ 69 h 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57" h="98">
                      <a:moveTo>
                        <a:pt x="157" y="98"/>
                      </a:moveTo>
                      <a:lnTo>
                        <a:pt x="0" y="98"/>
                      </a:lnTo>
                      <a:lnTo>
                        <a:pt x="0" y="0"/>
                      </a:lnTo>
                      <a:lnTo>
                        <a:pt x="157" y="0"/>
                      </a:lnTo>
                      <a:lnTo>
                        <a:pt x="157" y="98"/>
                      </a:lnTo>
                      <a:close/>
                      <a:moveTo>
                        <a:pt x="30" y="69"/>
                      </a:moveTo>
                      <a:lnTo>
                        <a:pt x="128" y="69"/>
                      </a:lnTo>
                      <a:lnTo>
                        <a:pt x="128" y="30"/>
                      </a:lnTo>
                      <a:lnTo>
                        <a:pt x="30" y="30"/>
                      </a:lnTo>
                      <a:lnTo>
                        <a:pt x="30" y="69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25" name="Rectangle 24">
                  <a:extLst>
                    <a:ext uri="{FF2B5EF4-FFF2-40B4-BE49-F238E27FC236}">
                      <a16:creationId xmlns:a16="http://schemas.microsoft.com/office/drawing/2014/main" id="{A955F91C-F774-4BF6-AEB1-17203468239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3471863"/>
                  <a:ext cx="49213" cy="631825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26" name="Freeform 248">
                  <a:extLst>
                    <a:ext uri="{FF2B5EF4-FFF2-40B4-BE49-F238E27FC236}">
                      <a16:creationId xmlns:a16="http://schemas.microsoft.com/office/drawing/2014/main" id="{20BA89EC-750D-4B3D-8770-1E27FD8E862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375651" y="2968626"/>
                  <a:ext cx="385763" cy="255588"/>
                </a:xfrm>
                <a:custGeom>
                  <a:avLst/>
                  <a:gdLst>
                    <a:gd name="T0" fmla="*/ 145 w 243"/>
                    <a:gd name="T1" fmla="*/ 161 h 161"/>
                    <a:gd name="T2" fmla="*/ 98 w 243"/>
                    <a:gd name="T3" fmla="*/ 69 h 161"/>
                    <a:gd name="T4" fmla="*/ 85 w 243"/>
                    <a:gd name="T5" fmla="*/ 95 h 161"/>
                    <a:gd name="T6" fmla="*/ 0 w 243"/>
                    <a:gd name="T7" fmla="*/ 95 h 161"/>
                    <a:gd name="T8" fmla="*/ 0 w 243"/>
                    <a:gd name="T9" fmla="*/ 65 h 161"/>
                    <a:gd name="T10" fmla="*/ 65 w 243"/>
                    <a:gd name="T11" fmla="*/ 65 h 161"/>
                    <a:gd name="T12" fmla="*/ 98 w 243"/>
                    <a:gd name="T13" fmla="*/ 0 h 161"/>
                    <a:gd name="T14" fmla="*/ 145 w 243"/>
                    <a:gd name="T15" fmla="*/ 93 h 161"/>
                    <a:gd name="T16" fmla="*/ 160 w 243"/>
                    <a:gd name="T17" fmla="*/ 65 h 161"/>
                    <a:gd name="T18" fmla="*/ 243 w 243"/>
                    <a:gd name="T19" fmla="*/ 65 h 161"/>
                    <a:gd name="T20" fmla="*/ 243 w 243"/>
                    <a:gd name="T21" fmla="*/ 95 h 161"/>
                    <a:gd name="T22" fmla="*/ 178 w 243"/>
                    <a:gd name="T23" fmla="*/ 95 h 161"/>
                    <a:gd name="T24" fmla="*/ 145 w 243"/>
                    <a:gd name="T25" fmla="*/ 161 h 1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43" h="161">
                      <a:moveTo>
                        <a:pt x="145" y="161"/>
                      </a:moveTo>
                      <a:lnTo>
                        <a:pt x="98" y="69"/>
                      </a:lnTo>
                      <a:lnTo>
                        <a:pt x="85" y="95"/>
                      </a:lnTo>
                      <a:lnTo>
                        <a:pt x="0" y="95"/>
                      </a:lnTo>
                      <a:lnTo>
                        <a:pt x="0" y="65"/>
                      </a:lnTo>
                      <a:lnTo>
                        <a:pt x="65" y="65"/>
                      </a:lnTo>
                      <a:lnTo>
                        <a:pt x="98" y="0"/>
                      </a:lnTo>
                      <a:lnTo>
                        <a:pt x="145" y="93"/>
                      </a:lnTo>
                      <a:lnTo>
                        <a:pt x="160" y="65"/>
                      </a:lnTo>
                      <a:lnTo>
                        <a:pt x="243" y="65"/>
                      </a:lnTo>
                      <a:lnTo>
                        <a:pt x="243" y="95"/>
                      </a:lnTo>
                      <a:lnTo>
                        <a:pt x="178" y="95"/>
                      </a:lnTo>
                      <a:lnTo>
                        <a:pt x="145" y="161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27" name="Freeform 249">
                  <a:extLst>
                    <a:ext uri="{FF2B5EF4-FFF2-40B4-BE49-F238E27FC236}">
                      <a16:creationId xmlns:a16="http://schemas.microsoft.com/office/drawing/2014/main" id="{AD70F6AF-71A7-4E8D-89D2-5EB9A9290F3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334376" y="3121026"/>
                  <a:ext cx="468313" cy="395288"/>
                </a:xfrm>
                <a:custGeom>
                  <a:avLst/>
                  <a:gdLst>
                    <a:gd name="T0" fmla="*/ 149 w 295"/>
                    <a:gd name="T1" fmla="*/ 249 h 249"/>
                    <a:gd name="T2" fmla="*/ 0 w 295"/>
                    <a:gd name="T3" fmla="*/ 17 h 249"/>
                    <a:gd name="T4" fmla="*/ 26 w 295"/>
                    <a:gd name="T5" fmla="*/ 0 h 249"/>
                    <a:gd name="T6" fmla="*/ 149 w 295"/>
                    <a:gd name="T7" fmla="*/ 193 h 249"/>
                    <a:gd name="T8" fmla="*/ 269 w 295"/>
                    <a:gd name="T9" fmla="*/ 0 h 249"/>
                    <a:gd name="T10" fmla="*/ 295 w 295"/>
                    <a:gd name="T11" fmla="*/ 17 h 249"/>
                    <a:gd name="T12" fmla="*/ 149 w 295"/>
                    <a:gd name="T13" fmla="*/ 249 h 2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95" h="249">
                      <a:moveTo>
                        <a:pt x="149" y="249"/>
                      </a:moveTo>
                      <a:lnTo>
                        <a:pt x="0" y="17"/>
                      </a:lnTo>
                      <a:lnTo>
                        <a:pt x="26" y="0"/>
                      </a:lnTo>
                      <a:lnTo>
                        <a:pt x="149" y="193"/>
                      </a:lnTo>
                      <a:lnTo>
                        <a:pt x="269" y="0"/>
                      </a:lnTo>
                      <a:lnTo>
                        <a:pt x="295" y="17"/>
                      </a:lnTo>
                      <a:lnTo>
                        <a:pt x="149" y="249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28" name="Freeform 250">
                  <a:extLst>
                    <a:ext uri="{FF2B5EF4-FFF2-40B4-BE49-F238E27FC236}">
                      <a16:creationId xmlns:a16="http://schemas.microsoft.com/office/drawing/2014/main" id="{C73B7F44-808D-4D7E-B6A4-2F8A7035192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255001" y="3024188"/>
                  <a:ext cx="144463" cy="144463"/>
                </a:xfrm>
                <a:custGeom>
                  <a:avLst/>
                  <a:gdLst>
                    <a:gd name="T0" fmla="*/ 47 w 91"/>
                    <a:gd name="T1" fmla="*/ 91 h 91"/>
                    <a:gd name="T2" fmla="*/ 47 w 91"/>
                    <a:gd name="T3" fmla="*/ 91 h 91"/>
                    <a:gd name="T4" fmla="*/ 37 w 91"/>
                    <a:gd name="T5" fmla="*/ 89 h 91"/>
                    <a:gd name="T6" fmla="*/ 28 w 91"/>
                    <a:gd name="T7" fmla="*/ 87 h 91"/>
                    <a:gd name="T8" fmla="*/ 21 w 91"/>
                    <a:gd name="T9" fmla="*/ 84 h 91"/>
                    <a:gd name="T10" fmla="*/ 13 w 91"/>
                    <a:gd name="T11" fmla="*/ 78 h 91"/>
                    <a:gd name="T12" fmla="*/ 8 w 91"/>
                    <a:gd name="T13" fmla="*/ 71 h 91"/>
                    <a:gd name="T14" fmla="*/ 4 w 91"/>
                    <a:gd name="T15" fmla="*/ 63 h 91"/>
                    <a:gd name="T16" fmla="*/ 2 w 91"/>
                    <a:gd name="T17" fmla="*/ 54 h 91"/>
                    <a:gd name="T18" fmla="*/ 0 w 91"/>
                    <a:gd name="T19" fmla="*/ 45 h 91"/>
                    <a:gd name="T20" fmla="*/ 0 w 91"/>
                    <a:gd name="T21" fmla="*/ 45 h 91"/>
                    <a:gd name="T22" fmla="*/ 2 w 91"/>
                    <a:gd name="T23" fmla="*/ 35 h 91"/>
                    <a:gd name="T24" fmla="*/ 4 w 91"/>
                    <a:gd name="T25" fmla="*/ 28 h 91"/>
                    <a:gd name="T26" fmla="*/ 8 w 91"/>
                    <a:gd name="T27" fmla="*/ 21 h 91"/>
                    <a:gd name="T28" fmla="*/ 13 w 91"/>
                    <a:gd name="T29" fmla="*/ 13 h 91"/>
                    <a:gd name="T30" fmla="*/ 21 w 91"/>
                    <a:gd name="T31" fmla="*/ 8 h 91"/>
                    <a:gd name="T32" fmla="*/ 28 w 91"/>
                    <a:gd name="T33" fmla="*/ 4 h 91"/>
                    <a:gd name="T34" fmla="*/ 37 w 91"/>
                    <a:gd name="T35" fmla="*/ 0 h 91"/>
                    <a:gd name="T36" fmla="*/ 47 w 91"/>
                    <a:gd name="T37" fmla="*/ 0 h 91"/>
                    <a:gd name="T38" fmla="*/ 47 w 91"/>
                    <a:gd name="T39" fmla="*/ 0 h 91"/>
                    <a:gd name="T40" fmla="*/ 56 w 91"/>
                    <a:gd name="T41" fmla="*/ 0 h 91"/>
                    <a:gd name="T42" fmla="*/ 63 w 91"/>
                    <a:gd name="T43" fmla="*/ 4 h 91"/>
                    <a:gd name="T44" fmla="*/ 73 w 91"/>
                    <a:gd name="T45" fmla="*/ 8 h 91"/>
                    <a:gd name="T46" fmla="*/ 78 w 91"/>
                    <a:gd name="T47" fmla="*/ 13 h 91"/>
                    <a:gd name="T48" fmla="*/ 84 w 91"/>
                    <a:gd name="T49" fmla="*/ 21 h 91"/>
                    <a:gd name="T50" fmla="*/ 87 w 91"/>
                    <a:gd name="T51" fmla="*/ 28 h 91"/>
                    <a:gd name="T52" fmla="*/ 91 w 91"/>
                    <a:gd name="T53" fmla="*/ 35 h 91"/>
                    <a:gd name="T54" fmla="*/ 91 w 91"/>
                    <a:gd name="T55" fmla="*/ 45 h 91"/>
                    <a:gd name="T56" fmla="*/ 91 w 91"/>
                    <a:gd name="T57" fmla="*/ 45 h 91"/>
                    <a:gd name="T58" fmla="*/ 91 w 91"/>
                    <a:gd name="T59" fmla="*/ 54 h 91"/>
                    <a:gd name="T60" fmla="*/ 87 w 91"/>
                    <a:gd name="T61" fmla="*/ 63 h 91"/>
                    <a:gd name="T62" fmla="*/ 84 w 91"/>
                    <a:gd name="T63" fmla="*/ 71 h 91"/>
                    <a:gd name="T64" fmla="*/ 78 w 91"/>
                    <a:gd name="T65" fmla="*/ 78 h 91"/>
                    <a:gd name="T66" fmla="*/ 73 w 91"/>
                    <a:gd name="T67" fmla="*/ 84 h 91"/>
                    <a:gd name="T68" fmla="*/ 63 w 91"/>
                    <a:gd name="T69" fmla="*/ 87 h 91"/>
                    <a:gd name="T70" fmla="*/ 56 w 91"/>
                    <a:gd name="T71" fmla="*/ 89 h 91"/>
                    <a:gd name="T72" fmla="*/ 47 w 91"/>
                    <a:gd name="T73" fmla="*/ 91 h 91"/>
                    <a:gd name="T74" fmla="*/ 47 w 91"/>
                    <a:gd name="T75" fmla="*/ 91 h 91"/>
                    <a:gd name="T76" fmla="*/ 47 w 91"/>
                    <a:gd name="T77" fmla="*/ 30 h 91"/>
                    <a:gd name="T78" fmla="*/ 47 w 91"/>
                    <a:gd name="T79" fmla="*/ 30 h 91"/>
                    <a:gd name="T80" fmla="*/ 41 w 91"/>
                    <a:gd name="T81" fmla="*/ 32 h 91"/>
                    <a:gd name="T82" fmla="*/ 35 w 91"/>
                    <a:gd name="T83" fmla="*/ 35 h 91"/>
                    <a:gd name="T84" fmla="*/ 32 w 91"/>
                    <a:gd name="T85" fmla="*/ 39 h 91"/>
                    <a:gd name="T86" fmla="*/ 32 w 91"/>
                    <a:gd name="T87" fmla="*/ 45 h 91"/>
                    <a:gd name="T88" fmla="*/ 32 w 91"/>
                    <a:gd name="T89" fmla="*/ 45 h 91"/>
                    <a:gd name="T90" fmla="*/ 32 w 91"/>
                    <a:gd name="T91" fmla="*/ 50 h 91"/>
                    <a:gd name="T92" fmla="*/ 35 w 91"/>
                    <a:gd name="T93" fmla="*/ 56 h 91"/>
                    <a:gd name="T94" fmla="*/ 41 w 91"/>
                    <a:gd name="T95" fmla="*/ 60 h 91"/>
                    <a:gd name="T96" fmla="*/ 47 w 91"/>
                    <a:gd name="T97" fmla="*/ 60 h 91"/>
                    <a:gd name="T98" fmla="*/ 47 w 91"/>
                    <a:gd name="T99" fmla="*/ 60 h 91"/>
                    <a:gd name="T100" fmla="*/ 52 w 91"/>
                    <a:gd name="T101" fmla="*/ 60 h 91"/>
                    <a:gd name="T102" fmla="*/ 58 w 91"/>
                    <a:gd name="T103" fmla="*/ 56 h 91"/>
                    <a:gd name="T104" fmla="*/ 60 w 91"/>
                    <a:gd name="T105" fmla="*/ 50 h 91"/>
                    <a:gd name="T106" fmla="*/ 61 w 91"/>
                    <a:gd name="T107" fmla="*/ 45 h 91"/>
                    <a:gd name="T108" fmla="*/ 61 w 91"/>
                    <a:gd name="T109" fmla="*/ 45 h 91"/>
                    <a:gd name="T110" fmla="*/ 60 w 91"/>
                    <a:gd name="T111" fmla="*/ 39 h 91"/>
                    <a:gd name="T112" fmla="*/ 58 w 91"/>
                    <a:gd name="T113" fmla="*/ 35 h 91"/>
                    <a:gd name="T114" fmla="*/ 52 w 91"/>
                    <a:gd name="T115" fmla="*/ 32 h 91"/>
                    <a:gd name="T116" fmla="*/ 47 w 91"/>
                    <a:gd name="T117" fmla="*/ 30 h 91"/>
                    <a:gd name="T118" fmla="*/ 47 w 91"/>
                    <a:gd name="T119" fmla="*/ 30 h 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91" h="91">
                      <a:moveTo>
                        <a:pt x="47" y="91"/>
                      </a:moveTo>
                      <a:lnTo>
                        <a:pt x="47" y="91"/>
                      </a:lnTo>
                      <a:lnTo>
                        <a:pt x="37" y="89"/>
                      </a:lnTo>
                      <a:lnTo>
                        <a:pt x="28" y="87"/>
                      </a:lnTo>
                      <a:lnTo>
                        <a:pt x="21" y="84"/>
                      </a:lnTo>
                      <a:lnTo>
                        <a:pt x="13" y="78"/>
                      </a:lnTo>
                      <a:lnTo>
                        <a:pt x="8" y="71"/>
                      </a:lnTo>
                      <a:lnTo>
                        <a:pt x="4" y="63"/>
                      </a:lnTo>
                      <a:lnTo>
                        <a:pt x="2" y="54"/>
                      </a:lnTo>
                      <a:lnTo>
                        <a:pt x="0" y="45"/>
                      </a:lnTo>
                      <a:lnTo>
                        <a:pt x="0" y="45"/>
                      </a:lnTo>
                      <a:lnTo>
                        <a:pt x="2" y="35"/>
                      </a:lnTo>
                      <a:lnTo>
                        <a:pt x="4" y="28"/>
                      </a:lnTo>
                      <a:lnTo>
                        <a:pt x="8" y="21"/>
                      </a:lnTo>
                      <a:lnTo>
                        <a:pt x="13" y="13"/>
                      </a:lnTo>
                      <a:lnTo>
                        <a:pt x="21" y="8"/>
                      </a:lnTo>
                      <a:lnTo>
                        <a:pt x="28" y="4"/>
                      </a:lnTo>
                      <a:lnTo>
                        <a:pt x="37" y="0"/>
                      </a:lnTo>
                      <a:lnTo>
                        <a:pt x="47" y="0"/>
                      </a:lnTo>
                      <a:lnTo>
                        <a:pt x="47" y="0"/>
                      </a:lnTo>
                      <a:lnTo>
                        <a:pt x="56" y="0"/>
                      </a:lnTo>
                      <a:lnTo>
                        <a:pt x="63" y="4"/>
                      </a:lnTo>
                      <a:lnTo>
                        <a:pt x="73" y="8"/>
                      </a:lnTo>
                      <a:lnTo>
                        <a:pt x="78" y="13"/>
                      </a:lnTo>
                      <a:lnTo>
                        <a:pt x="84" y="21"/>
                      </a:lnTo>
                      <a:lnTo>
                        <a:pt x="87" y="28"/>
                      </a:lnTo>
                      <a:lnTo>
                        <a:pt x="91" y="35"/>
                      </a:lnTo>
                      <a:lnTo>
                        <a:pt x="91" y="45"/>
                      </a:lnTo>
                      <a:lnTo>
                        <a:pt x="91" y="45"/>
                      </a:lnTo>
                      <a:lnTo>
                        <a:pt x="91" y="54"/>
                      </a:lnTo>
                      <a:lnTo>
                        <a:pt x="87" y="63"/>
                      </a:lnTo>
                      <a:lnTo>
                        <a:pt x="84" y="71"/>
                      </a:lnTo>
                      <a:lnTo>
                        <a:pt x="78" y="78"/>
                      </a:lnTo>
                      <a:lnTo>
                        <a:pt x="73" y="84"/>
                      </a:lnTo>
                      <a:lnTo>
                        <a:pt x="63" y="87"/>
                      </a:lnTo>
                      <a:lnTo>
                        <a:pt x="56" y="89"/>
                      </a:lnTo>
                      <a:lnTo>
                        <a:pt x="47" y="91"/>
                      </a:lnTo>
                      <a:lnTo>
                        <a:pt x="47" y="91"/>
                      </a:lnTo>
                      <a:close/>
                      <a:moveTo>
                        <a:pt x="47" y="30"/>
                      </a:moveTo>
                      <a:lnTo>
                        <a:pt x="47" y="30"/>
                      </a:lnTo>
                      <a:lnTo>
                        <a:pt x="41" y="32"/>
                      </a:lnTo>
                      <a:lnTo>
                        <a:pt x="35" y="35"/>
                      </a:lnTo>
                      <a:lnTo>
                        <a:pt x="32" y="39"/>
                      </a:lnTo>
                      <a:lnTo>
                        <a:pt x="32" y="45"/>
                      </a:lnTo>
                      <a:lnTo>
                        <a:pt x="32" y="45"/>
                      </a:lnTo>
                      <a:lnTo>
                        <a:pt x="32" y="50"/>
                      </a:lnTo>
                      <a:lnTo>
                        <a:pt x="35" y="56"/>
                      </a:lnTo>
                      <a:lnTo>
                        <a:pt x="41" y="60"/>
                      </a:lnTo>
                      <a:lnTo>
                        <a:pt x="47" y="60"/>
                      </a:lnTo>
                      <a:lnTo>
                        <a:pt x="47" y="60"/>
                      </a:lnTo>
                      <a:lnTo>
                        <a:pt x="52" y="60"/>
                      </a:lnTo>
                      <a:lnTo>
                        <a:pt x="58" y="56"/>
                      </a:lnTo>
                      <a:lnTo>
                        <a:pt x="60" y="50"/>
                      </a:lnTo>
                      <a:lnTo>
                        <a:pt x="61" y="45"/>
                      </a:lnTo>
                      <a:lnTo>
                        <a:pt x="61" y="45"/>
                      </a:lnTo>
                      <a:lnTo>
                        <a:pt x="60" y="39"/>
                      </a:lnTo>
                      <a:lnTo>
                        <a:pt x="58" y="35"/>
                      </a:lnTo>
                      <a:lnTo>
                        <a:pt x="52" y="32"/>
                      </a:lnTo>
                      <a:lnTo>
                        <a:pt x="47" y="30"/>
                      </a:lnTo>
                      <a:lnTo>
                        <a:pt x="47" y="3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29" name="Freeform 251">
                  <a:extLst>
                    <a:ext uri="{FF2B5EF4-FFF2-40B4-BE49-F238E27FC236}">
                      <a16:creationId xmlns:a16="http://schemas.microsoft.com/office/drawing/2014/main" id="{8912995F-B8C5-4317-80BC-C331A0BFC16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737601" y="3024188"/>
                  <a:ext cx="144463" cy="144463"/>
                </a:xfrm>
                <a:custGeom>
                  <a:avLst/>
                  <a:gdLst>
                    <a:gd name="T0" fmla="*/ 45 w 91"/>
                    <a:gd name="T1" fmla="*/ 91 h 91"/>
                    <a:gd name="T2" fmla="*/ 45 w 91"/>
                    <a:gd name="T3" fmla="*/ 91 h 91"/>
                    <a:gd name="T4" fmla="*/ 35 w 91"/>
                    <a:gd name="T5" fmla="*/ 89 h 91"/>
                    <a:gd name="T6" fmla="*/ 28 w 91"/>
                    <a:gd name="T7" fmla="*/ 87 h 91"/>
                    <a:gd name="T8" fmla="*/ 21 w 91"/>
                    <a:gd name="T9" fmla="*/ 84 h 91"/>
                    <a:gd name="T10" fmla="*/ 13 w 91"/>
                    <a:gd name="T11" fmla="*/ 78 h 91"/>
                    <a:gd name="T12" fmla="*/ 8 w 91"/>
                    <a:gd name="T13" fmla="*/ 71 h 91"/>
                    <a:gd name="T14" fmla="*/ 4 w 91"/>
                    <a:gd name="T15" fmla="*/ 63 h 91"/>
                    <a:gd name="T16" fmla="*/ 0 w 91"/>
                    <a:gd name="T17" fmla="*/ 54 h 91"/>
                    <a:gd name="T18" fmla="*/ 0 w 91"/>
                    <a:gd name="T19" fmla="*/ 45 h 91"/>
                    <a:gd name="T20" fmla="*/ 0 w 91"/>
                    <a:gd name="T21" fmla="*/ 45 h 91"/>
                    <a:gd name="T22" fmla="*/ 0 w 91"/>
                    <a:gd name="T23" fmla="*/ 35 h 91"/>
                    <a:gd name="T24" fmla="*/ 4 w 91"/>
                    <a:gd name="T25" fmla="*/ 28 h 91"/>
                    <a:gd name="T26" fmla="*/ 8 w 91"/>
                    <a:gd name="T27" fmla="*/ 21 h 91"/>
                    <a:gd name="T28" fmla="*/ 13 w 91"/>
                    <a:gd name="T29" fmla="*/ 13 h 91"/>
                    <a:gd name="T30" fmla="*/ 21 w 91"/>
                    <a:gd name="T31" fmla="*/ 8 h 91"/>
                    <a:gd name="T32" fmla="*/ 28 w 91"/>
                    <a:gd name="T33" fmla="*/ 4 h 91"/>
                    <a:gd name="T34" fmla="*/ 35 w 91"/>
                    <a:gd name="T35" fmla="*/ 0 h 91"/>
                    <a:gd name="T36" fmla="*/ 45 w 91"/>
                    <a:gd name="T37" fmla="*/ 0 h 91"/>
                    <a:gd name="T38" fmla="*/ 45 w 91"/>
                    <a:gd name="T39" fmla="*/ 0 h 91"/>
                    <a:gd name="T40" fmla="*/ 54 w 91"/>
                    <a:gd name="T41" fmla="*/ 0 h 91"/>
                    <a:gd name="T42" fmla="*/ 63 w 91"/>
                    <a:gd name="T43" fmla="*/ 4 h 91"/>
                    <a:gd name="T44" fmla="*/ 71 w 91"/>
                    <a:gd name="T45" fmla="*/ 8 h 91"/>
                    <a:gd name="T46" fmla="*/ 78 w 91"/>
                    <a:gd name="T47" fmla="*/ 13 h 91"/>
                    <a:gd name="T48" fmla="*/ 84 w 91"/>
                    <a:gd name="T49" fmla="*/ 21 h 91"/>
                    <a:gd name="T50" fmla="*/ 87 w 91"/>
                    <a:gd name="T51" fmla="*/ 28 h 91"/>
                    <a:gd name="T52" fmla="*/ 89 w 91"/>
                    <a:gd name="T53" fmla="*/ 35 h 91"/>
                    <a:gd name="T54" fmla="*/ 91 w 91"/>
                    <a:gd name="T55" fmla="*/ 45 h 91"/>
                    <a:gd name="T56" fmla="*/ 91 w 91"/>
                    <a:gd name="T57" fmla="*/ 45 h 91"/>
                    <a:gd name="T58" fmla="*/ 89 w 91"/>
                    <a:gd name="T59" fmla="*/ 54 h 91"/>
                    <a:gd name="T60" fmla="*/ 87 w 91"/>
                    <a:gd name="T61" fmla="*/ 63 h 91"/>
                    <a:gd name="T62" fmla="*/ 84 w 91"/>
                    <a:gd name="T63" fmla="*/ 71 h 91"/>
                    <a:gd name="T64" fmla="*/ 78 w 91"/>
                    <a:gd name="T65" fmla="*/ 78 h 91"/>
                    <a:gd name="T66" fmla="*/ 71 w 91"/>
                    <a:gd name="T67" fmla="*/ 84 h 91"/>
                    <a:gd name="T68" fmla="*/ 63 w 91"/>
                    <a:gd name="T69" fmla="*/ 87 h 91"/>
                    <a:gd name="T70" fmla="*/ 54 w 91"/>
                    <a:gd name="T71" fmla="*/ 89 h 91"/>
                    <a:gd name="T72" fmla="*/ 45 w 91"/>
                    <a:gd name="T73" fmla="*/ 91 h 91"/>
                    <a:gd name="T74" fmla="*/ 45 w 91"/>
                    <a:gd name="T75" fmla="*/ 91 h 91"/>
                    <a:gd name="T76" fmla="*/ 45 w 91"/>
                    <a:gd name="T77" fmla="*/ 30 h 91"/>
                    <a:gd name="T78" fmla="*/ 45 w 91"/>
                    <a:gd name="T79" fmla="*/ 30 h 91"/>
                    <a:gd name="T80" fmla="*/ 39 w 91"/>
                    <a:gd name="T81" fmla="*/ 32 h 91"/>
                    <a:gd name="T82" fmla="*/ 35 w 91"/>
                    <a:gd name="T83" fmla="*/ 35 h 91"/>
                    <a:gd name="T84" fmla="*/ 32 w 91"/>
                    <a:gd name="T85" fmla="*/ 39 h 91"/>
                    <a:gd name="T86" fmla="*/ 30 w 91"/>
                    <a:gd name="T87" fmla="*/ 45 h 91"/>
                    <a:gd name="T88" fmla="*/ 30 w 91"/>
                    <a:gd name="T89" fmla="*/ 45 h 91"/>
                    <a:gd name="T90" fmla="*/ 32 w 91"/>
                    <a:gd name="T91" fmla="*/ 50 h 91"/>
                    <a:gd name="T92" fmla="*/ 35 w 91"/>
                    <a:gd name="T93" fmla="*/ 56 h 91"/>
                    <a:gd name="T94" fmla="*/ 39 w 91"/>
                    <a:gd name="T95" fmla="*/ 60 h 91"/>
                    <a:gd name="T96" fmla="*/ 45 w 91"/>
                    <a:gd name="T97" fmla="*/ 60 h 91"/>
                    <a:gd name="T98" fmla="*/ 45 w 91"/>
                    <a:gd name="T99" fmla="*/ 60 h 91"/>
                    <a:gd name="T100" fmla="*/ 50 w 91"/>
                    <a:gd name="T101" fmla="*/ 60 h 91"/>
                    <a:gd name="T102" fmla="*/ 56 w 91"/>
                    <a:gd name="T103" fmla="*/ 56 h 91"/>
                    <a:gd name="T104" fmla="*/ 59 w 91"/>
                    <a:gd name="T105" fmla="*/ 50 h 91"/>
                    <a:gd name="T106" fmla="*/ 59 w 91"/>
                    <a:gd name="T107" fmla="*/ 45 h 91"/>
                    <a:gd name="T108" fmla="*/ 59 w 91"/>
                    <a:gd name="T109" fmla="*/ 45 h 91"/>
                    <a:gd name="T110" fmla="*/ 59 w 91"/>
                    <a:gd name="T111" fmla="*/ 39 h 91"/>
                    <a:gd name="T112" fmla="*/ 56 w 91"/>
                    <a:gd name="T113" fmla="*/ 35 h 91"/>
                    <a:gd name="T114" fmla="*/ 50 w 91"/>
                    <a:gd name="T115" fmla="*/ 32 h 91"/>
                    <a:gd name="T116" fmla="*/ 45 w 91"/>
                    <a:gd name="T117" fmla="*/ 30 h 91"/>
                    <a:gd name="T118" fmla="*/ 45 w 91"/>
                    <a:gd name="T119" fmla="*/ 30 h 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91" h="91">
                      <a:moveTo>
                        <a:pt x="45" y="91"/>
                      </a:moveTo>
                      <a:lnTo>
                        <a:pt x="45" y="91"/>
                      </a:lnTo>
                      <a:lnTo>
                        <a:pt x="35" y="89"/>
                      </a:lnTo>
                      <a:lnTo>
                        <a:pt x="28" y="87"/>
                      </a:lnTo>
                      <a:lnTo>
                        <a:pt x="21" y="84"/>
                      </a:lnTo>
                      <a:lnTo>
                        <a:pt x="13" y="78"/>
                      </a:lnTo>
                      <a:lnTo>
                        <a:pt x="8" y="71"/>
                      </a:lnTo>
                      <a:lnTo>
                        <a:pt x="4" y="63"/>
                      </a:lnTo>
                      <a:lnTo>
                        <a:pt x="0" y="54"/>
                      </a:lnTo>
                      <a:lnTo>
                        <a:pt x="0" y="45"/>
                      </a:lnTo>
                      <a:lnTo>
                        <a:pt x="0" y="45"/>
                      </a:lnTo>
                      <a:lnTo>
                        <a:pt x="0" y="35"/>
                      </a:lnTo>
                      <a:lnTo>
                        <a:pt x="4" y="28"/>
                      </a:lnTo>
                      <a:lnTo>
                        <a:pt x="8" y="21"/>
                      </a:lnTo>
                      <a:lnTo>
                        <a:pt x="13" y="13"/>
                      </a:lnTo>
                      <a:lnTo>
                        <a:pt x="21" y="8"/>
                      </a:lnTo>
                      <a:lnTo>
                        <a:pt x="28" y="4"/>
                      </a:lnTo>
                      <a:lnTo>
                        <a:pt x="35" y="0"/>
                      </a:lnTo>
                      <a:lnTo>
                        <a:pt x="45" y="0"/>
                      </a:lnTo>
                      <a:lnTo>
                        <a:pt x="45" y="0"/>
                      </a:lnTo>
                      <a:lnTo>
                        <a:pt x="54" y="0"/>
                      </a:lnTo>
                      <a:lnTo>
                        <a:pt x="63" y="4"/>
                      </a:lnTo>
                      <a:lnTo>
                        <a:pt x="71" y="8"/>
                      </a:lnTo>
                      <a:lnTo>
                        <a:pt x="78" y="13"/>
                      </a:lnTo>
                      <a:lnTo>
                        <a:pt x="84" y="21"/>
                      </a:lnTo>
                      <a:lnTo>
                        <a:pt x="87" y="28"/>
                      </a:lnTo>
                      <a:lnTo>
                        <a:pt x="89" y="35"/>
                      </a:lnTo>
                      <a:lnTo>
                        <a:pt x="91" y="45"/>
                      </a:lnTo>
                      <a:lnTo>
                        <a:pt x="91" y="45"/>
                      </a:lnTo>
                      <a:lnTo>
                        <a:pt x="89" y="54"/>
                      </a:lnTo>
                      <a:lnTo>
                        <a:pt x="87" y="63"/>
                      </a:lnTo>
                      <a:lnTo>
                        <a:pt x="84" y="71"/>
                      </a:lnTo>
                      <a:lnTo>
                        <a:pt x="78" y="78"/>
                      </a:lnTo>
                      <a:lnTo>
                        <a:pt x="71" y="84"/>
                      </a:lnTo>
                      <a:lnTo>
                        <a:pt x="63" y="87"/>
                      </a:lnTo>
                      <a:lnTo>
                        <a:pt x="54" y="89"/>
                      </a:lnTo>
                      <a:lnTo>
                        <a:pt x="45" y="91"/>
                      </a:lnTo>
                      <a:lnTo>
                        <a:pt x="45" y="91"/>
                      </a:lnTo>
                      <a:close/>
                      <a:moveTo>
                        <a:pt x="45" y="30"/>
                      </a:moveTo>
                      <a:lnTo>
                        <a:pt x="45" y="30"/>
                      </a:lnTo>
                      <a:lnTo>
                        <a:pt x="39" y="32"/>
                      </a:lnTo>
                      <a:lnTo>
                        <a:pt x="35" y="35"/>
                      </a:lnTo>
                      <a:lnTo>
                        <a:pt x="32" y="39"/>
                      </a:lnTo>
                      <a:lnTo>
                        <a:pt x="30" y="45"/>
                      </a:lnTo>
                      <a:lnTo>
                        <a:pt x="30" y="45"/>
                      </a:lnTo>
                      <a:lnTo>
                        <a:pt x="32" y="50"/>
                      </a:lnTo>
                      <a:lnTo>
                        <a:pt x="35" y="56"/>
                      </a:lnTo>
                      <a:lnTo>
                        <a:pt x="39" y="60"/>
                      </a:lnTo>
                      <a:lnTo>
                        <a:pt x="45" y="60"/>
                      </a:lnTo>
                      <a:lnTo>
                        <a:pt x="45" y="60"/>
                      </a:lnTo>
                      <a:lnTo>
                        <a:pt x="50" y="60"/>
                      </a:lnTo>
                      <a:lnTo>
                        <a:pt x="56" y="56"/>
                      </a:lnTo>
                      <a:lnTo>
                        <a:pt x="59" y="50"/>
                      </a:lnTo>
                      <a:lnTo>
                        <a:pt x="59" y="45"/>
                      </a:lnTo>
                      <a:lnTo>
                        <a:pt x="59" y="45"/>
                      </a:lnTo>
                      <a:lnTo>
                        <a:pt x="59" y="39"/>
                      </a:lnTo>
                      <a:lnTo>
                        <a:pt x="56" y="35"/>
                      </a:lnTo>
                      <a:lnTo>
                        <a:pt x="50" y="32"/>
                      </a:lnTo>
                      <a:lnTo>
                        <a:pt x="45" y="30"/>
                      </a:lnTo>
                      <a:lnTo>
                        <a:pt x="45" y="3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30" name="Rectangle 29">
                  <a:extLst>
                    <a:ext uri="{FF2B5EF4-FFF2-40B4-BE49-F238E27FC236}">
                      <a16:creationId xmlns:a16="http://schemas.microsoft.com/office/drawing/2014/main" id="{CAAE7413-EF26-4717-AC8C-2CF23F2E41D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2178051"/>
                  <a:ext cx="49213" cy="93663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31" name="Freeform 253">
                  <a:extLst>
                    <a:ext uri="{FF2B5EF4-FFF2-40B4-BE49-F238E27FC236}">
                      <a16:creationId xmlns:a16="http://schemas.microsoft.com/office/drawing/2014/main" id="{73AA1EC9-474D-472D-8564-CF212A52E48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716963" y="2192338"/>
                  <a:ext cx="68263" cy="103188"/>
                </a:xfrm>
                <a:custGeom>
                  <a:avLst/>
                  <a:gdLst>
                    <a:gd name="T0" fmla="*/ 30 w 43"/>
                    <a:gd name="T1" fmla="*/ 65 h 65"/>
                    <a:gd name="T2" fmla="*/ 0 w 43"/>
                    <a:gd name="T3" fmla="*/ 59 h 65"/>
                    <a:gd name="T4" fmla="*/ 13 w 43"/>
                    <a:gd name="T5" fmla="*/ 0 h 65"/>
                    <a:gd name="T6" fmla="*/ 43 w 43"/>
                    <a:gd name="T7" fmla="*/ 6 h 65"/>
                    <a:gd name="T8" fmla="*/ 30 w 43"/>
                    <a:gd name="T9" fmla="*/ 65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3" h="65">
                      <a:moveTo>
                        <a:pt x="30" y="65"/>
                      </a:moveTo>
                      <a:lnTo>
                        <a:pt x="0" y="59"/>
                      </a:lnTo>
                      <a:lnTo>
                        <a:pt x="13" y="0"/>
                      </a:lnTo>
                      <a:lnTo>
                        <a:pt x="43" y="6"/>
                      </a:lnTo>
                      <a:lnTo>
                        <a:pt x="30" y="65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32" name="Freeform 254">
                  <a:extLst>
                    <a:ext uri="{FF2B5EF4-FFF2-40B4-BE49-F238E27FC236}">
                      <a16:creationId xmlns:a16="http://schemas.microsoft.com/office/drawing/2014/main" id="{61A6ADAC-B9E4-492F-865E-BCE734A5588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882063" y="2244726"/>
                  <a:ext cx="82550" cy="109538"/>
                </a:xfrm>
                <a:custGeom>
                  <a:avLst/>
                  <a:gdLst>
                    <a:gd name="T0" fmla="*/ 28 w 52"/>
                    <a:gd name="T1" fmla="*/ 69 h 69"/>
                    <a:gd name="T2" fmla="*/ 0 w 52"/>
                    <a:gd name="T3" fmla="*/ 56 h 69"/>
                    <a:gd name="T4" fmla="*/ 24 w 52"/>
                    <a:gd name="T5" fmla="*/ 0 h 69"/>
                    <a:gd name="T6" fmla="*/ 52 w 52"/>
                    <a:gd name="T7" fmla="*/ 13 h 69"/>
                    <a:gd name="T8" fmla="*/ 28 w 52"/>
                    <a:gd name="T9" fmla="*/ 69 h 6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2" h="69">
                      <a:moveTo>
                        <a:pt x="28" y="69"/>
                      </a:moveTo>
                      <a:lnTo>
                        <a:pt x="0" y="56"/>
                      </a:lnTo>
                      <a:lnTo>
                        <a:pt x="24" y="0"/>
                      </a:lnTo>
                      <a:lnTo>
                        <a:pt x="52" y="13"/>
                      </a:lnTo>
                      <a:lnTo>
                        <a:pt x="28" y="69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33" name="Freeform 255">
                  <a:extLst>
                    <a:ext uri="{FF2B5EF4-FFF2-40B4-BE49-F238E27FC236}">
                      <a16:creationId xmlns:a16="http://schemas.microsoft.com/office/drawing/2014/main" id="{977A77F8-1623-4CB7-A819-AAAAA493D4D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031288" y="2339976"/>
                  <a:ext cx="98425" cy="104775"/>
                </a:xfrm>
                <a:custGeom>
                  <a:avLst/>
                  <a:gdLst>
                    <a:gd name="T0" fmla="*/ 26 w 62"/>
                    <a:gd name="T1" fmla="*/ 66 h 66"/>
                    <a:gd name="T2" fmla="*/ 0 w 62"/>
                    <a:gd name="T3" fmla="*/ 48 h 66"/>
                    <a:gd name="T4" fmla="*/ 37 w 62"/>
                    <a:gd name="T5" fmla="*/ 0 h 66"/>
                    <a:gd name="T6" fmla="*/ 62 w 62"/>
                    <a:gd name="T7" fmla="*/ 16 h 66"/>
                    <a:gd name="T8" fmla="*/ 26 w 62"/>
                    <a:gd name="T9" fmla="*/ 66 h 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2" h="66">
                      <a:moveTo>
                        <a:pt x="26" y="66"/>
                      </a:moveTo>
                      <a:lnTo>
                        <a:pt x="0" y="48"/>
                      </a:lnTo>
                      <a:lnTo>
                        <a:pt x="37" y="0"/>
                      </a:lnTo>
                      <a:lnTo>
                        <a:pt x="62" y="16"/>
                      </a:lnTo>
                      <a:lnTo>
                        <a:pt x="26" y="66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34" name="Freeform 256">
                  <a:extLst>
                    <a:ext uri="{FF2B5EF4-FFF2-40B4-BE49-F238E27FC236}">
                      <a16:creationId xmlns:a16="http://schemas.microsoft.com/office/drawing/2014/main" id="{935FDF97-10EE-4E4C-A53E-9166170DD4A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164638" y="2462213"/>
                  <a:ext cx="103188" cy="100013"/>
                </a:xfrm>
                <a:custGeom>
                  <a:avLst/>
                  <a:gdLst>
                    <a:gd name="T0" fmla="*/ 20 w 65"/>
                    <a:gd name="T1" fmla="*/ 63 h 63"/>
                    <a:gd name="T2" fmla="*/ 0 w 65"/>
                    <a:gd name="T3" fmla="*/ 41 h 63"/>
                    <a:gd name="T4" fmla="*/ 44 w 65"/>
                    <a:gd name="T5" fmla="*/ 0 h 63"/>
                    <a:gd name="T6" fmla="*/ 65 w 65"/>
                    <a:gd name="T7" fmla="*/ 23 h 63"/>
                    <a:gd name="T8" fmla="*/ 20 w 65"/>
                    <a:gd name="T9" fmla="*/ 63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5" h="63">
                      <a:moveTo>
                        <a:pt x="20" y="63"/>
                      </a:moveTo>
                      <a:lnTo>
                        <a:pt x="0" y="41"/>
                      </a:lnTo>
                      <a:lnTo>
                        <a:pt x="44" y="0"/>
                      </a:lnTo>
                      <a:lnTo>
                        <a:pt x="65" y="23"/>
                      </a:lnTo>
                      <a:lnTo>
                        <a:pt x="20" y="6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35" name="Freeform 257">
                  <a:extLst>
                    <a:ext uri="{FF2B5EF4-FFF2-40B4-BE49-F238E27FC236}">
                      <a16:creationId xmlns:a16="http://schemas.microsoft.com/office/drawing/2014/main" id="{CA562749-14B7-41A8-BB25-A07EBB3C4AD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271001" y="2616201"/>
                  <a:ext cx="104775" cy="87313"/>
                </a:xfrm>
                <a:custGeom>
                  <a:avLst/>
                  <a:gdLst>
                    <a:gd name="T0" fmla="*/ 14 w 66"/>
                    <a:gd name="T1" fmla="*/ 55 h 55"/>
                    <a:gd name="T2" fmla="*/ 0 w 66"/>
                    <a:gd name="T3" fmla="*/ 29 h 55"/>
                    <a:gd name="T4" fmla="*/ 51 w 66"/>
                    <a:gd name="T5" fmla="*/ 0 h 55"/>
                    <a:gd name="T6" fmla="*/ 66 w 66"/>
                    <a:gd name="T7" fmla="*/ 26 h 55"/>
                    <a:gd name="T8" fmla="*/ 14 w 66"/>
                    <a:gd name="T9" fmla="*/ 55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6" h="55">
                      <a:moveTo>
                        <a:pt x="14" y="55"/>
                      </a:moveTo>
                      <a:lnTo>
                        <a:pt x="0" y="29"/>
                      </a:lnTo>
                      <a:lnTo>
                        <a:pt x="51" y="0"/>
                      </a:lnTo>
                      <a:lnTo>
                        <a:pt x="66" y="26"/>
                      </a:lnTo>
                      <a:lnTo>
                        <a:pt x="14" y="55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36" name="Freeform 258">
                  <a:extLst>
                    <a:ext uri="{FF2B5EF4-FFF2-40B4-BE49-F238E27FC236}">
                      <a16:creationId xmlns:a16="http://schemas.microsoft.com/office/drawing/2014/main" id="{408CA8BA-E75E-4490-98D8-1AEDFA54646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344026" y="2789238"/>
                  <a:ext cx="106363" cy="76200"/>
                </a:xfrm>
                <a:custGeom>
                  <a:avLst/>
                  <a:gdLst>
                    <a:gd name="T0" fmla="*/ 9 w 67"/>
                    <a:gd name="T1" fmla="*/ 48 h 48"/>
                    <a:gd name="T2" fmla="*/ 0 w 67"/>
                    <a:gd name="T3" fmla="*/ 19 h 48"/>
                    <a:gd name="T4" fmla="*/ 57 w 67"/>
                    <a:gd name="T5" fmla="*/ 0 h 48"/>
                    <a:gd name="T6" fmla="*/ 67 w 67"/>
                    <a:gd name="T7" fmla="*/ 28 h 48"/>
                    <a:gd name="T8" fmla="*/ 9 w 67"/>
                    <a:gd name="T9" fmla="*/ 48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7" h="48">
                      <a:moveTo>
                        <a:pt x="9" y="48"/>
                      </a:moveTo>
                      <a:lnTo>
                        <a:pt x="0" y="19"/>
                      </a:lnTo>
                      <a:lnTo>
                        <a:pt x="57" y="0"/>
                      </a:lnTo>
                      <a:lnTo>
                        <a:pt x="67" y="28"/>
                      </a:lnTo>
                      <a:lnTo>
                        <a:pt x="9" y="48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37" name="Freeform 259">
                  <a:extLst>
                    <a:ext uri="{FF2B5EF4-FFF2-40B4-BE49-F238E27FC236}">
                      <a16:creationId xmlns:a16="http://schemas.microsoft.com/office/drawing/2014/main" id="{1090CF3A-27A3-4311-8FE7-596CA729EF8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385301" y="2974976"/>
                  <a:ext cx="100013" cy="58738"/>
                </a:xfrm>
                <a:custGeom>
                  <a:avLst/>
                  <a:gdLst>
                    <a:gd name="T0" fmla="*/ 3 w 63"/>
                    <a:gd name="T1" fmla="*/ 37 h 37"/>
                    <a:gd name="T2" fmla="*/ 0 w 63"/>
                    <a:gd name="T3" fmla="*/ 7 h 37"/>
                    <a:gd name="T4" fmla="*/ 59 w 63"/>
                    <a:gd name="T5" fmla="*/ 0 h 37"/>
                    <a:gd name="T6" fmla="*/ 63 w 63"/>
                    <a:gd name="T7" fmla="*/ 31 h 37"/>
                    <a:gd name="T8" fmla="*/ 3 w 63"/>
                    <a:gd name="T9" fmla="*/ 37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3" h="37">
                      <a:moveTo>
                        <a:pt x="3" y="37"/>
                      </a:moveTo>
                      <a:lnTo>
                        <a:pt x="0" y="7"/>
                      </a:lnTo>
                      <a:lnTo>
                        <a:pt x="59" y="0"/>
                      </a:lnTo>
                      <a:lnTo>
                        <a:pt x="63" y="31"/>
                      </a:lnTo>
                      <a:lnTo>
                        <a:pt x="3" y="37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38" name="Freeform 260">
                  <a:extLst>
                    <a:ext uri="{FF2B5EF4-FFF2-40B4-BE49-F238E27FC236}">
                      <a16:creationId xmlns:a16="http://schemas.microsoft.com/office/drawing/2014/main" id="{3FAB6C50-BDDE-45C0-926C-7837C8FA7B7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385301" y="3157538"/>
                  <a:ext cx="100013" cy="58738"/>
                </a:xfrm>
                <a:custGeom>
                  <a:avLst/>
                  <a:gdLst>
                    <a:gd name="T0" fmla="*/ 59 w 63"/>
                    <a:gd name="T1" fmla="*/ 37 h 37"/>
                    <a:gd name="T2" fmla="*/ 0 w 63"/>
                    <a:gd name="T3" fmla="*/ 31 h 37"/>
                    <a:gd name="T4" fmla="*/ 3 w 63"/>
                    <a:gd name="T5" fmla="*/ 0 h 37"/>
                    <a:gd name="T6" fmla="*/ 63 w 63"/>
                    <a:gd name="T7" fmla="*/ 7 h 37"/>
                    <a:gd name="T8" fmla="*/ 59 w 63"/>
                    <a:gd name="T9" fmla="*/ 37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3" h="37">
                      <a:moveTo>
                        <a:pt x="59" y="37"/>
                      </a:moveTo>
                      <a:lnTo>
                        <a:pt x="0" y="31"/>
                      </a:lnTo>
                      <a:lnTo>
                        <a:pt x="3" y="0"/>
                      </a:lnTo>
                      <a:lnTo>
                        <a:pt x="63" y="7"/>
                      </a:lnTo>
                      <a:lnTo>
                        <a:pt x="59" y="37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39" name="Freeform 261">
                  <a:extLst>
                    <a:ext uri="{FF2B5EF4-FFF2-40B4-BE49-F238E27FC236}">
                      <a16:creationId xmlns:a16="http://schemas.microsoft.com/office/drawing/2014/main" id="{47D663F0-8018-44F9-80F0-01A8B6986EC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344026" y="3327401"/>
                  <a:ext cx="106363" cy="76200"/>
                </a:xfrm>
                <a:custGeom>
                  <a:avLst/>
                  <a:gdLst>
                    <a:gd name="T0" fmla="*/ 57 w 67"/>
                    <a:gd name="T1" fmla="*/ 48 h 48"/>
                    <a:gd name="T2" fmla="*/ 0 w 67"/>
                    <a:gd name="T3" fmla="*/ 28 h 48"/>
                    <a:gd name="T4" fmla="*/ 9 w 67"/>
                    <a:gd name="T5" fmla="*/ 0 h 48"/>
                    <a:gd name="T6" fmla="*/ 67 w 67"/>
                    <a:gd name="T7" fmla="*/ 19 h 48"/>
                    <a:gd name="T8" fmla="*/ 57 w 67"/>
                    <a:gd name="T9" fmla="*/ 48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7" h="48">
                      <a:moveTo>
                        <a:pt x="57" y="48"/>
                      </a:moveTo>
                      <a:lnTo>
                        <a:pt x="0" y="28"/>
                      </a:lnTo>
                      <a:lnTo>
                        <a:pt x="9" y="0"/>
                      </a:lnTo>
                      <a:lnTo>
                        <a:pt x="67" y="19"/>
                      </a:lnTo>
                      <a:lnTo>
                        <a:pt x="57" y="48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40" name="Freeform 262">
                  <a:extLst>
                    <a:ext uri="{FF2B5EF4-FFF2-40B4-BE49-F238E27FC236}">
                      <a16:creationId xmlns:a16="http://schemas.microsoft.com/office/drawing/2014/main" id="{0101A9CE-A12E-44DC-AD06-F6FE1A728FC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271001" y="3486151"/>
                  <a:ext cx="104775" cy="92075"/>
                </a:xfrm>
                <a:custGeom>
                  <a:avLst/>
                  <a:gdLst>
                    <a:gd name="T0" fmla="*/ 51 w 66"/>
                    <a:gd name="T1" fmla="*/ 58 h 58"/>
                    <a:gd name="T2" fmla="*/ 0 w 66"/>
                    <a:gd name="T3" fmla="*/ 26 h 58"/>
                    <a:gd name="T4" fmla="*/ 14 w 66"/>
                    <a:gd name="T5" fmla="*/ 0 h 58"/>
                    <a:gd name="T6" fmla="*/ 66 w 66"/>
                    <a:gd name="T7" fmla="*/ 30 h 58"/>
                    <a:gd name="T8" fmla="*/ 51 w 66"/>
                    <a:gd name="T9" fmla="*/ 58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6" h="58">
                      <a:moveTo>
                        <a:pt x="51" y="58"/>
                      </a:moveTo>
                      <a:lnTo>
                        <a:pt x="0" y="26"/>
                      </a:lnTo>
                      <a:lnTo>
                        <a:pt x="14" y="0"/>
                      </a:lnTo>
                      <a:lnTo>
                        <a:pt x="66" y="30"/>
                      </a:lnTo>
                      <a:lnTo>
                        <a:pt x="51" y="58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41" name="Freeform 263">
                  <a:extLst>
                    <a:ext uri="{FF2B5EF4-FFF2-40B4-BE49-F238E27FC236}">
                      <a16:creationId xmlns:a16="http://schemas.microsoft.com/office/drawing/2014/main" id="{13CE1013-3E66-434C-A86D-CC70498A1AD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164638" y="3627438"/>
                  <a:ext cx="103188" cy="100013"/>
                </a:xfrm>
                <a:custGeom>
                  <a:avLst/>
                  <a:gdLst>
                    <a:gd name="T0" fmla="*/ 44 w 65"/>
                    <a:gd name="T1" fmla="*/ 63 h 63"/>
                    <a:gd name="T2" fmla="*/ 0 w 65"/>
                    <a:gd name="T3" fmla="*/ 24 h 63"/>
                    <a:gd name="T4" fmla="*/ 20 w 65"/>
                    <a:gd name="T5" fmla="*/ 0 h 63"/>
                    <a:gd name="T6" fmla="*/ 65 w 65"/>
                    <a:gd name="T7" fmla="*/ 41 h 63"/>
                    <a:gd name="T8" fmla="*/ 44 w 65"/>
                    <a:gd name="T9" fmla="*/ 63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5" h="63">
                      <a:moveTo>
                        <a:pt x="44" y="63"/>
                      </a:moveTo>
                      <a:lnTo>
                        <a:pt x="0" y="24"/>
                      </a:lnTo>
                      <a:lnTo>
                        <a:pt x="20" y="0"/>
                      </a:lnTo>
                      <a:lnTo>
                        <a:pt x="65" y="41"/>
                      </a:lnTo>
                      <a:lnTo>
                        <a:pt x="44" y="6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42" name="Freeform 264">
                  <a:extLst>
                    <a:ext uri="{FF2B5EF4-FFF2-40B4-BE49-F238E27FC236}">
                      <a16:creationId xmlns:a16="http://schemas.microsoft.com/office/drawing/2014/main" id="{8E6176CC-397B-4CA1-985C-7F8F098D305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031288" y="3748088"/>
                  <a:ext cx="98425" cy="106363"/>
                </a:xfrm>
                <a:custGeom>
                  <a:avLst/>
                  <a:gdLst>
                    <a:gd name="T0" fmla="*/ 37 w 62"/>
                    <a:gd name="T1" fmla="*/ 67 h 67"/>
                    <a:gd name="T2" fmla="*/ 0 w 62"/>
                    <a:gd name="T3" fmla="*/ 17 h 67"/>
                    <a:gd name="T4" fmla="*/ 26 w 62"/>
                    <a:gd name="T5" fmla="*/ 0 h 67"/>
                    <a:gd name="T6" fmla="*/ 62 w 62"/>
                    <a:gd name="T7" fmla="*/ 48 h 67"/>
                    <a:gd name="T8" fmla="*/ 37 w 62"/>
                    <a:gd name="T9" fmla="*/ 67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2" h="67">
                      <a:moveTo>
                        <a:pt x="37" y="67"/>
                      </a:moveTo>
                      <a:lnTo>
                        <a:pt x="0" y="17"/>
                      </a:lnTo>
                      <a:lnTo>
                        <a:pt x="26" y="0"/>
                      </a:lnTo>
                      <a:lnTo>
                        <a:pt x="62" y="48"/>
                      </a:lnTo>
                      <a:lnTo>
                        <a:pt x="37" y="67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43" name="Freeform 265">
                  <a:extLst>
                    <a:ext uri="{FF2B5EF4-FFF2-40B4-BE49-F238E27FC236}">
                      <a16:creationId xmlns:a16="http://schemas.microsoft.com/office/drawing/2014/main" id="{62E95CCC-CC2C-45B4-BF48-0CB536D00C6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355013" y="2192338"/>
                  <a:ext cx="65088" cy="103188"/>
                </a:xfrm>
                <a:custGeom>
                  <a:avLst/>
                  <a:gdLst>
                    <a:gd name="T0" fmla="*/ 11 w 41"/>
                    <a:gd name="T1" fmla="*/ 65 h 65"/>
                    <a:gd name="T2" fmla="*/ 0 w 41"/>
                    <a:gd name="T3" fmla="*/ 6 h 65"/>
                    <a:gd name="T4" fmla="*/ 30 w 41"/>
                    <a:gd name="T5" fmla="*/ 0 h 65"/>
                    <a:gd name="T6" fmla="*/ 41 w 41"/>
                    <a:gd name="T7" fmla="*/ 59 h 65"/>
                    <a:gd name="T8" fmla="*/ 11 w 41"/>
                    <a:gd name="T9" fmla="*/ 65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1" h="65">
                      <a:moveTo>
                        <a:pt x="11" y="65"/>
                      </a:moveTo>
                      <a:lnTo>
                        <a:pt x="0" y="6"/>
                      </a:lnTo>
                      <a:lnTo>
                        <a:pt x="30" y="0"/>
                      </a:lnTo>
                      <a:lnTo>
                        <a:pt x="41" y="59"/>
                      </a:lnTo>
                      <a:lnTo>
                        <a:pt x="11" y="65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44" name="Freeform 266">
                  <a:extLst>
                    <a:ext uri="{FF2B5EF4-FFF2-40B4-BE49-F238E27FC236}">
                      <a16:creationId xmlns:a16="http://schemas.microsoft.com/office/drawing/2014/main" id="{0C70349C-B12D-4A72-A795-29BFCAA01DC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172451" y="2244726"/>
                  <a:ext cx="82550" cy="109538"/>
                </a:xfrm>
                <a:custGeom>
                  <a:avLst/>
                  <a:gdLst>
                    <a:gd name="T0" fmla="*/ 24 w 52"/>
                    <a:gd name="T1" fmla="*/ 69 h 69"/>
                    <a:gd name="T2" fmla="*/ 0 w 52"/>
                    <a:gd name="T3" fmla="*/ 13 h 69"/>
                    <a:gd name="T4" fmla="*/ 28 w 52"/>
                    <a:gd name="T5" fmla="*/ 0 h 69"/>
                    <a:gd name="T6" fmla="*/ 52 w 52"/>
                    <a:gd name="T7" fmla="*/ 56 h 69"/>
                    <a:gd name="T8" fmla="*/ 24 w 52"/>
                    <a:gd name="T9" fmla="*/ 69 h 6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2" h="69">
                      <a:moveTo>
                        <a:pt x="24" y="69"/>
                      </a:moveTo>
                      <a:lnTo>
                        <a:pt x="0" y="13"/>
                      </a:lnTo>
                      <a:lnTo>
                        <a:pt x="28" y="0"/>
                      </a:lnTo>
                      <a:lnTo>
                        <a:pt x="52" y="56"/>
                      </a:lnTo>
                      <a:lnTo>
                        <a:pt x="24" y="69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45" name="Freeform 267">
                  <a:extLst>
                    <a:ext uri="{FF2B5EF4-FFF2-40B4-BE49-F238E27FC236}">
                      <a16:creationId xmlns:a16="http://schemas.microsoft.com/office/drawing/2014/main" id="{54AA60F1-EA14-4143-BBC2-403E43DB1EE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008938" y="2339976"/>
                  <a:ext cx="96838" cy="104775"/>
                </a:xfrm>
                <a:custGeom>
                  <a:avLst/>
                  <a:gdLst>
                    <a:gd name="T0" fmla="*/ 37 w 61"/>
                    <a:gd name="T1" fmla="*/ 66 h 66"/>
                    <a:gd name="T2" fmla="*/ 0 w 61"/>
                    <a:gd name="T3" fmla="*/ 16 h 66"/>
                    <a:gd name="T4" fmla="*/ 26 w 61"/>
                    <a:gd name="T5" fmla="*/ 0 h 66"/>
                    <a:gd name="T6" fmla="*/ 61 w 61"/>
                    <a:gd name="T7" fmla="*/ 48 h 66"/>
                    <a:gd name="T8" fmla="*/ 37 w 61"/>
                    <a:gd name="T9" fmla="*/ 66 h 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1" h="66">
                      <a:moveTo>
                        <a:pt x="37" y="66"/>
                      </a:moveTo>
                      <a:lnTo>
                        <a:pt x="0" y="16"/>
                      </a:lnTo>
                      <a:lnTo>
                        <a:pt x="26" y="0"/>
                      </a:lnTo>
                      <a:lnTo>
                        <a:pt x="61" y="48"/>
                      </a:lnTo>
                      <a:lnTo>
                        <a:pt x="37" y="66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46" name="Freeform 268">
                  <a:extLst>
                    <a:ext uri="{FF2B5EF4-FFF2-40B4-BE49-F238E27FC236}">
                      <a16:creationId xmlns:a16="http://schemas.microsoft.com/office/drawing/2014/main" id="{6A9FE813-E6B8-4C88-B669-F9DD4D594FA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870826" y="2462213"/>
                  <a:ext cx="101600" cy="100013"/>
                </a:xfrm>
                <a:custGeom>
                  <a:avLst/>
                  <a:gdLst>
                    <a:gd name="T0" fmla="*/ 44 w 64"/>
                    <a:gd name="T1" fmla="*/ 63 h 63"/>
                    <a:gd name="T2" fmla="*/ 0 w 64"/>
                    <a:gd name="T3" fmla="*/ 23 h 63"/>
                    <a:gd name="T4" fmla="*/ 20 w 64"/>
                    <a:gd name="T5" fmla="*/ 0 h 63"/>
                    <a:gd name="T6" fmla="*/ 64 w 64"/>
                    <a:gd name="T7" fmla="*/ 41 h 63"/>
                    <a:gd name="T8" fmla="*/ 44 w 64"/>
                    <a:gd name="T9" fmla="*/ 63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4" h="63">
                      <a:moveTo>
                        <a:pt x="44" y="63"/>
                      </a:moveTo>
                      <a:lnTo>
                        <a:pt x="0" y="23"/>
                      </a:lnTo>
                      <a:lnTo>
                        <a:pt x="20" y="0"/>
                      </a:lnTo>
                      <a:lnTo>
                        <a:pt x="64" y="41"/>
                      </a:lnTo>
                      <a:lnTo>
                        <a:pt x="44" y="6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47" name="Freeform 269">
                  <a:extLst>
                    <a:ext uri="{FF2B5EF4-FFF2-40B4-BE49-F238E27FC236}">
                      <a16:creationId xmlns:a16="http://schemas.microsoft.com/office/drawing/2014/main" id="{603A3DBC-6ECA-4B3E-A67C-A80CC97937D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761288" y="2616201"/>
                  <a:ext cx="106363" cy="87313"/>
                </a:xfrm>
                <a:custGeom>
                  <a:avLst/>
                  <a:gdLst>
                    <a:gd name="T0" fmla="*/ 52 w 67"/>
                    <a:gd name="T1" fmla="*/ 55 h 55"/>
                    <a:gd name="T2" fmla="*/ 0 w 67"/>
                    <a:gd name="T3" fmla="*/ 26 h 55"/>
                    <a:gd name="T4" fmla="*/ 15 w 67"/>
                    <a:gd name="T5" fmla="*/ 0 h 55"/>
                    <a:gd name="T6" fmla="*/ 67 w 67"/>
                    <a:gd name="T7" fmla="*/ 29 h 55"/>
                    <a:gd name="T8" fmla="*/ 52 w 67"/>
                    <a:gd name="T9" fmla="*/ 55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7" h="55">
                      <a:moveTo>
                        <a:pt x="52" y="55"/>
                      </a:moveTo>
                      <a:lnTo>
                        <a:pt x="0" y="26"/>
                      </a:lnTo>
                      <a:lnTo>
                        <a:pt x="15" y="0"/>
                      </a:lnTo>
                      <a:lnTo>
                        <a:pt x="67" y="29"/>
                      </a:lnTo>
                      <a:lnTo>
                        <a:pt x="52" y="55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48" name="Freeform 270">
                  <a:extLst>
                    <a:ext uri="{FF2B5EF4-FFF2-40B4-BE49-F238E27FC236}">
                      <a16:creationId xmlns:a16="http://schemas.microsoft.com/office/drawing/2014/main" id="{0F7E6AE9-98CA-4620-AB33-54F1E0AB17E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688263" y="2789238"/>
                  <a:ext cx="104775" cy="76200"/>
                </a:xfrm>
                <a:custGeom>
                  <a:avLst/>
                  <a:gdLst>
                    <a:gd name="T0" fmla="*/ 57 w 66"/>
                    <a:gd name="T1" fmla="*/ 48 h 48"/>
                    <a:gd name="T2" fmla="*/ 0 w 66"/>
                    <a:gd name="T3" fmla="*/ 28 h 48"/>
                    <a:gd name="T4" fmla="*/ 9 w 66"/>
                    <a:gd name="T5" fmla="*/ 0 h 48"/>
                    <a:gd name="T6" fmla="*/ 66 w 66"/>
                    <a:gd name="T7" fmla="*/ 19 h 48"/>
                    <a:gd name="T8" fmla="*/ 57 w 66"/>
                    <a:gd name="T9" fmla="*/ 48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6" h="48">
                      <a:moveTo>
                        <a:pt x="57" y="48"/>
                      </a:moveTo>
                      <a:lnTo>
                        <a:pt x="0" y="28"/>
                      </a:lnTo>
                      <a:lnTo>
                        <a:pt x="9" y="0"/>
                      </a:lnTo>
                      <a:lnTo>
                        <a:pt x="66" y="19"/>
                      </a:lnTo>
                      <a:lnTo>
                        <a:pt x="57" y="48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49" name="Freeform 271">
                  <a:extLst>
                    <a:ext uri="{FF2B5EF4-FFF2-40B4-BE49-F238E27FC236}">
                      <a16:creationId xmlns:a16="http://schemas.microsoft.com/office/drawing/2014/main" id="{25BBFA28-CF4E-4B44-8A5A-FD93F243A23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651751" y="2974976"/>
                  <a:ext cx="100013" cy="58738"/>
                </a:xfrm>
                <a:custGeom>
                  <a:avLst/>
                  <a:gdLst>
                    <a:gd name="T0" fmla="*/ 60 w 63"/>
                    <a:gd name="T1" fmla="*/ 37 h 37"/>
                    <a:gd name="T2" fmla="*/ 0 w 63"/>
                    <a:gd name="T3" fmla="*/ 31 h 37"/>
                    <a:gd name="T4" fmla="*/ 4 w 63"/>
                    <a:gd name="T5" fmla="*/ 0 h 37"/>
                    <a:gd name="T6" fmla="*/ 63 w 63"/>
                    <a:gd name="T7" fmla="*/ 7 h 37"/>
                    <a:gd name="T8" fmla="*/ 60 w 63"/>
                    <a:gd name="T9" fmla="*/ 37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3" h="37">
                      <a:moveTo>
                        <a:pt x="60" y="37"/>
                      </a:moveTo>
                      <a:lnTo>
                        <a:pt x="0" y="31"/>
                      </a:lnTo>
                      <a:lnTo>
                        <a:pt x="4" y="0"/>
                      </a:lnTo>
                      <a:lnTo>
                        <a:pt x="63" y="7"/>
                      </a:lnTo>
                      <a:lnTo>
                        <a:pt x="60" y="37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50" name="Freeform 272">
                  <a:extLst>
                    <a:ext uri="{FF2B5EF4-FFF2-40B4-BE49-F238E27FC236}">
                      <a16:creationId xmlns:a16="http://schemas.microsoft.com/office/drawing/2014/main" id="{7A84640E-2B53-4CC9-9204-FB7F96CBC07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651751" y="3157538"/>
                  <a:ext cx="100013" cy="58738"/>
                </a:xfrm>
                <a:custGeom>
                  <a:avLst/>
                  <a:gdLst>
                    <a:gd name="T0" fmla="*/ 4 w 63"/>
                    <a:gd name="T1" fmla="*/ 37 h 37"/>
                    <a:gd name="T2" fmla="*/ 0 w 63"/>
                    <a:gd name="T3" fmla="*/ 7 h 37"/>
                    <a:gd name="T4" fmla="*/ 60 w 63"/>
                    <a:gd name="T5" fmla="*/ 0 h 37"/>
                    <a:gd name="T6" fmla="*/ 63 w 63"/>
                    <a:gd name="T7" fmla="*/ 31 h 37"/>
                    <a:gd name="T8" fmla="*/ 4 w 63"/>
                    <a:gd name="T9" fmla="*/ 37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3" h="37">
                      <a:moveTo>
                        <a:pt x="4" y="37"/>
                      </a:moveTo>
                      <a:lnTo>
                        <a:pt x="0" y="7"/>
                      </a:lnTo>
                      <a:lnTo>
                        <a:pt x="60" y="0"/>
                      </a:lnTo>
                      <a:lnTo>
                        <a:pt x="63" y="31"/>
                      </a:lnTo>
                      <a:lnTo>
                        <a:pt x="4" y="37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51" name="Freeform 273">
                  <a:extLst>
                    <a:ext uri="{FF2B5EF4-FFF2-40B4-BE49-F238E27FC236}">
                      <a16:creationId xmlns:a16="http://schemas.microsoft.com/office/drawing/2014/main" id="{C6794764-EA44-4A35-B42E-D05D12C03F8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688263" y="3327401"/>
                  <a:ext cx="104775" cy="76200"/>
                </a:xfrm>
                <a:custGeom>
                  <a:avLst/>
                  <a:gdLst>
                    <a:gd name="T0" fmla="*/ 9 w 66"/>
                    <a:gd name="T1" fmla="*/ 48 h 48"/>
                    <a:gd name="T2" fmla="*/ 0 w 66"/>
                    <a:gd name="T3" fmla="*/ 19 h 48"/>
                    <a:gd name="T4" fmla="*/ 57 w 66"/>
                    <a:gd name="T5" fmla="*/ 0 h 48"/>
                    <a:gd name="T6" fmla="*/ 66 w 66"/>
                    <a:gd name="T7" fmla="*/ 30 h 48"/>
                    <a:gd name="T8" fmla="*/ 9 w 66"/>
                    <a:gd name="T9" fmla="*/ 48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6" h="48">
                      <a:moveTo>
                        <a:pt x="9" y="48"/>
                      </a:moveTo>
                      <a:lnTo>
                        <a:pt x="0" y="19"/>
                      </a:lnTo>
                      <a:lnTo>
                        <a:pt x="57" y="0"/>
                      </a:lnTo>
                      <a:lnTo>
                        <a:pt x="66" y="30"/>
                      </a:lnTo>
                      <a:lnTo>
                        <a:pt x="9" y="48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52" name="Freeform 274">
                  <a:extLst>
                    <a:ext uri="{FF2B5EF4-FFF2-40B4-BE49-F238E27FC236}">
                      <a16:creationId xmlns:a16="http://schemas.microsoft.com/office/drawing/2014/main" id="{ECABC25A-4518-4111-9BA8-1DD818093C7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761288" y="3486151"/>
                  <a:ext cx="106363" cy="92075"/>
                </a:xfrm>
                <a:custGeom>
                  <a:avLst/>
                  <a:gdLst>
                    <a:gd name="T0" fmla="*/ 15 w 67"/>
                    <a:gd name="T1" fmla="*/ 58 h 58"/>
                    <a:gd name="T2" fmla="*/ 0 w 67"/>
                    <a:gd name="T3" fmla="*/ 30 h 58"/>
                    <a:gd name="T4" fmla="*/ 52 w 67"/>
                    <a:gd name="T5" fmla="*/ 0 h 58"/>
                    <a:gd name="T6" fmla="*/ 67 w 67"/>
                    <a:gd name="T7" fmla="*/ 26 h 58"/>
                    <a:gd name="T8" fmla="*/ 15 w 67"/>
                    <a:gd name="T9" fmla="*/ 58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7" h="58">
                      <a:moveTo>
                        <a:pt x="15" y="58"/>
                      </a:moveTo>
                      <a:lnTo>
                        <a:pt x="0" y="30"/>
                      </a:lnTo>
                      <a:lnTo>
                        <a:pt x="52" y="0"/>
                      </a:lnTo>
                      <a:lnTo>
                        <a:pt x="67" y="26"/>
                      </a:lnTo>
                      <a:lnTo>
                        <a:pt x="15" y="58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53" name="Freeform 275">
                  <a:extLst>
                    <a:ext uri="{FF2B5EF4-FFF2-40B4-BE49-F238E27FC236}">
                      <a16:creationId xmlns:a16="http://schemas.microsoft.com/office/drawing/2014/main" id="{973AFCC4-A50F-4B89-9F66-FAF5189135C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870826" y="3627438"/>
                  <a:ext cx="101600" cy="100013"/>
                </a:xfrm>
                <a:custGeom>
                  <a:avLst/>
                  <a:gdLst>
                    <a:gd name="T0" fmla="*/ 20 w 64"/>
                    <a:gd name="T1" fmla="*/ 63 h 63"/>
                    <a:gd name="T2" fmla="*/ 0 w 64"/>
                    <a:gd name="T3" fmla="*/ 41 h 63"/>
                    <a:gd name="T4" fmla="*/ 44 w 64"/>
                    <a:gd name="T5" fmla="*/ 0 h 63"/>
                    <a:gd name="T6" fmla="*/ 64 w 64"/>
                    <a:gd name="T7" fmla="*/ 24 h 63"/>
                    <a:gd name="T8" fmla="*/ 20 w 64"/>
                    <a:gd name="T9" fmla="*/ 63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4" h="63">
                      <a:moveTo>
                        <a:pt x="20" y="63"/>
                      </a:moveTo>
                      <a:lnTo>
                        <a:pt x="0" y="41"/>
                      </a:lnTo>
                      <a:lnTo>
                        <a:pt x="44" y="0"/>
                      </a:lnTo>
                      <a:lnTo>
                        <a:pt x="64" y="24"/>
                      </a:lnTo>
                      <a:lnTo>
                        <a:pt x="20" y="6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54" name="Freeform 276">
                  <a:extLst>
                    <a:ext uri="{FF2B5EF4-FFF2-40B4-BE49-F238E27FC236}">
                      <a16:creationId xmlns:a16="http://schemas.microsoft.com/office/drawing/2014/main" id="{045645C6-3246-40C3-8BB4-A7D1CC944CB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008938" y="3748088"/>
                  <a:ext cx="96838" cy="106363"/>
                </a:xfrm>
                <a:custGeom>
                  <a:avLst/>
                  <a:gdLst>
                    <a:gd name="T0" fmla="*/ 26 w 61"/>
                    <a:gd name="T1" fmla="*/ 67 h 67"/>
                    <a:gd name="T2" fmla="*/ 0 w 61"/>
                    <a:gd name="T3" fmla="*/ 48 h 67"/>
                    <a:gd name="T4" fmla="*/ 37 w 61"/>
                    <a:gd name="T5" fmla="*/ 0 h 67"/>
                    <a:gd name="T6" fmla="*/ 61 w 61"/>
                    <a:gd name="T7" fmla="*/ 17 h 67"/>
                    <a:gd name="T8" fmla="*/ 26 w 61"/>
                    <a:gd name="T9" fmla="*/ 67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1" h="67">
                      <a:moveTo>
                        <a:pt x="26" y="67"/>
                      </a:moveTo>
                      <a:lnTo>
                        <a:pt x="0" y="48"/>
                      </a:lnTo>
                      <a:lnTo>
                        <a:pt x="37" y="0"/>
                      </a:lnTo>
                      <a:lnTo>
                        <a:pt x="61" y="17"/>
                      </a:lnTo>
                      <a:lnTo>
                        <a:pt x="26" y="67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3BFBFF1D-6A37-45C6-ACD9-C2169BB03779}"/>
                </a:ext>
              </a:extLst>
            </p:cNvPr>
            <p:cNvSpPr/>
            <p:nvPr/>
          </p:nvSpPr>
          <p:spPr>
            <a:xfrm>
              <a:off x="6953285" y="4801999"/>
              <a:ext cx="1476883" cy="149766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endParaRPr>
            </a:p>
          </p:txBody>
        </p:sp>
      </p:grp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F04A6D5B-C512-43F6-8853-D13870CA10B3}"/>
              </a:ext>
            </a:extLst>
          </p:cNvPr>
          <p:cNvCxnSpPr>
            <a:cxnSpLocks/>
            <a:stCxn id="7" idx="56"/>
          </p:cNvCxnSpPr>
          <p:nvPr userDrawn="1"/>
        </p:nvCxnSpPr>
        <p:spPr>
          <a:xfrm>
            <a:off x="8922139" y="4968552"/>
            <a:ext cx="3269861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0358A89B-C4A0-4BF6-A7C2-3F1B9632BFBB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4628982"/>
            <a:ext cx="7894216" cy="80992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 Placeholder 58">
            <a:extLst>
              <a:ext uri="{FF2B5EF4-FFF2-40B4-BE49-F238E27FC236}">
                <a16:creationId xmlns:a16="http://schemas.microsoft.com/office/drawing/2014/main" id="{D8A7A6F7-5F58-448E-ABB3-AECDCAC6588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52500" y="1206500"/>
            <a:ext cx="5337175" cy="2257425"/>
          </a:xfrm>
        </p:spPr>
        <p:txBody>
          <a:bodyPr/>
          <a:lstStyle>
            <a:lvl1pPr marL="0" indent="0">
              <a:buNone/>
              <a:defRPr sz="6600">
                <a:latin typeface="Open Sans" panose="020B0606030504020204" pitchFamily="34" charset="0"/>
              </a:defRPr>
            </a:lvl1pPr>
          </a:lstStyle>
          <a:p>
            <a:pPr lvl="0"/>
            <a:r>
              <a:rPr lang="en-US" sz="6600">
                <a:latin typeface="+mj-lt"/>
              </a:rPr>
              <a:t>Section Header</a:t>
            </a:r>
            <a:endParaRPr lang="en-US"/>
          </a:p>
        </p:txBody>
      </p:sp>
      <p:sp>
        <p:nvSpPr>
          <p:cNvPr id="57" name="Text Placeholder 7">
            <a:extLst>
              <a:ext uri="{FF2B5EF4-FFF2-40B4-BE49-F238E27FC236}">
                <a16:creationId xmlns:a16="http://schemas.microsoft.com/office/drawing/2014/main" id="{A512EC79-3D38-4D64-98A6-7049A1EBC21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057884" y="219411"/>
            <a:ext cx="1635171" cy="237789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Insert Breadcrumbs</a:t>
            </a:r>
          </a:p>
        </p:txBody>
      </p:sp>
    </p:spTree>
    <p:extLst>
      <p:ext uri="{BB962C8B-B14F-4D97-AF65-F5344CB8AC3E}">
        <p14:creationId xmlns:p14="http://schemas.microsoft.com/office/powerpoint/2010/main" val="3674623314"/>
      </p:ext>
    </p:extLst>
  </p:cSld>
  <p:clrMapOvr>
    <a:masterClrMapping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Blank, No Background Graph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EFC2F98-5944-4C9B-A2C3-BF4DC0C7C3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56692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5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EFC2F98-5944-4C9B-A2C3-BF4DC0C7C3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517989B4-261F-4D8D-A788-E73774DD09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057884" y="219411"/>
            <a:ext cx="1635171" cy="237789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Insert Breadcrumbs</a:t>
            </a:r>
          </a:p>
        </p:txBody>
      </p:sp>
    </p:spTree>
    <p:extLst>
      <p:ext uri="{BB962C8B-B14F-4D97-AF65-F5344CB8AC3E}">
        <p14:creationId xmlns:p14="http://schemas.microsoft.com/office/powerpoint/2010/main" val="2759871051"/>
      </p:ext>
    </p:extLst>
  </p:cSld>
  <p:clrMapOvr>
    <a:masterClrMapping/>
  </p:clrMapOvr>
  <p:transition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DF3FC37F-7932-4C37-B01A-5823E09FDF0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057884" y="219411"/>
            <a:ext cx="1635171" cy="237789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Insert Breadcrumbs</a:t>
            </a:r>
          </a:p>
        </p:txBody>
      </p:sp>
    </p:spTree>
    <p:extLst>
      <p:ext uri="{BB962C8B-B14F-4D97-AF65-F5344CB8AC3E}">
        <p14:creationId xmlns:p14="http://schemas.microsoft.com/office/powerpoint/2010/main" val="833250908"/>
      </p:ext>
    </p:extLst>
  </p:cSld>
  <p:clrMapOvr>
    <a:masterClrMapping/>
  </p:clrMapOvr>
  <p:transition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2A9743E8-CB69-45C4-8BF2-12AFA3DAD73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057884" y="219411"/>
            <a:ext cx="1635171" cy="237789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Insert Breadcrumbs</a:t>
            </a:r>
          </a:p>
        </p:txBody>
      </p:sp>
    </p:spTree>
    <p:extLst>
      <p:ext uri="{BB962C8B-B14F-4D97-AF65-F5344CB8AC3E}">
        <p14:creationId xmlns:p14="http://schemas.microsoft.com/office/powerpoint/2010/main" val="2144214296"/>
      </p:ext>
    </p:extLst>
  </p:cSld>
  <p:clrMapOvr>
    <a:masterClrMapping/>
  </p:clrMapOvr>
  <p:transition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, Image Top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E7299DCA-C05F-4282-AA0C-388F078A5A7B}"/>
              </a:ext>
            </a:extLst>
          </p:cNvPr>
          <p:cNvGrpSpPr/>
          <p:nvPr userDrawn="1"/>
        </p:nvGrpSpPr>
        <p:grpSpPr>
          <a:xfrm>
            <a:off x="0" y="1295400"/>
            <a:ext cx="5748527" cy="5562600"/>
            <a:chOff x="0" y="1295400"/>
            <a:chExt cx="5748527" cy="5562600"/>
          </a:xfrm>
        </p:grpSpPr>
        <p:sp>
          <p:nvSpPr>
            <p:cNvPr id="11" name="object 3">
              <a:extLst>
                <a:ext uri="{FF2B5EF4-FFF2-40B4-BE49-F238E27FC236}">
                  <a16:creationId xmlns:a16="http://schemas.microsoft.com/office/drawing/2014/main" id="{DDF6AEC2-75A9-421C-A8A3-416BF6AA236C}"/>
                </a:ext>
              </a:extLst>
            </p:cNvPr>
            <p:cNvSpPr/>
            <p:nvPr/>
          </p:nvSpPr>
          <p:spPr>
            <a:xfrm>
              <a:off x="0" y="1295400"/>
              <a:ext cx="5748527" cy="5562600"/>
            </a:xfrm>
            <a:prstGeom prst="rect">
              <a:avLst/>
            </a:prstGeom>
            <a:blipFill>
              <a:blip r:embed="rId2" cstate="print">
                <a:duotone>
                  <a:prstClr val="black"/>
                  <a:srgbClr val="0070C0">
                    <a:tint val="45000"/>
                    <a:satMod val="400000"/>
                  </a:srgbClr>
                </a:duotone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23">
              <a:extLst>
                <a:ext uri="{FF2B5EF4-FFF2-40B4-BE49-F238E27FC236}">
                  <a16:creationId xmlns:a16="http://schemas.microsoft.com/office/drawing/2014/main" id="{B67415F9-2D87-4812-B946-34E3CD50F1CE}"/>
                </a:ext>
              </a:extLst>
            </p:cNvPr>
            <p:cNvSpPr/>
            <p:nvPr/>
          </p:nvSpPr>
          <p:spPr>
            <a:xfrm>
              <a:off x="429768" y="2609100"/>
              <a:ext cx="3136391" cy="3578339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3" name="Title 1">
            <a:extLst>
              <a:ext uri="{FF2B5EF4-FFF2-40B4-BE49-F238E27FC236}">
                <a16:creationId xmlns:a16="http://schemas.microsoft.com/office/drawing/2014/main" id="{83C697AE-3EC2-4251-B30A-7F948FABF9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9768" y="133722"/>
            <a:ext cx="10418233" cy="1592403"/>
          </a:xfrm>
        </p:spPr>
        <p:txBody>
          <a:bodyPr anchor="b"/>
          <a:lstStyle>
            <a:lvl1pPr>
              <a:defRPr sz="3850" b="1"/>
            </a:lvl1pPr>
          </a:lstStyle>
          <a:p>
            <a:r>
              <a:rPr lang="en-US">
                <a:latin typeface="Open Sans" panose="020B0606030504020204" pitchFamily="34" charset="0"/>
              </a:rPr>
              <a:t>Divider Slide</a:t>
            </a:r>
          </a:p>
        </p:txBody>
      </p:sp>
    </p:spTree>
    <p:extLst>
      <p:ext uri="{BB962C8B-B14F-4D97-AF65-F5344CB8AC3E}">
        <p14:creationId xmlns:p14="http://schemas.microsoft.com/office/powerpoint/2010/main" val="243816275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  <a:latin typeface="Open Sans" panose="020B0606030504020204" pitchFamily="34" charset="0"/>
              </a:rPr>
              <a:t>Presentation title</a:t>
            </a:r>
            <a:br>
              <a:rPr lang="en-US" sz="650" noProof="0">
                <a:solidFill>
                  <a:schemeClr val="bg1"/>
                </a:solidFill>
                <a:latin typeface="Open Sans" panose="020B0606030504020204" pitchFamily="34" charset="0"/>
              </a:rPr>
            </a:br>
            <a:r>
              <a:rPr lang="en-US" sz="650" noProof="0">
                <a:solidFill>
                  <a:schemeClr val="bg1"/>
                </a:solidFill>
                <a:latin typeface="Open Sans" panose="020B0606030504020204" pitchFamily="34" charset="0"/>
              </a:rPr>
              <a:t>[To edit, click View &gt; Slide Master &gt; Slide Master]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  <a:latin typeface="Open Sans" panose="020B0606030504020204" pitchFamily="34" charset="0"/>
              </a:rPr>
              <a:t>Member firms and DTTL: Insert appropriate copyright</a:t>
            </a:r>
            <a:br>
              <a:rPr lang="en-US" sz="650" noProof="0">
                <a:solidFill>
                  <a:schemeClr val="bg1"/>
                </a:solidFill>
                <a:latin typeface="Open Sans" panose="020B0606030504020204" pitchFamily="34" charset="0"/>
              </a:rPr>
            </a:br>
            <a:r>
              <a:rPr lang="en-US" sz="650" noProof="0">
                <a:solidFill>
                  <a:schemeClr val="bg1"/>
                </a:solidFill>
                <a:latin typeface="Open Sans" panose="020B0606030504020204" pitchFamily="34" charset="0"/>
              </a:rPr>
              <a:t>[To edit, click View &gt; Slide Master &gt; Slide Master]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  <a:latin typeface="Open Sans" panose="020B0606030504020204" pitchFamily="34" charset="0"/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  <a:latin typeface="Open Sans" panose="020B0606030504020204" pitchFamily="34" charset="0"/>
            </a:endParaRP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459397D9-63C0-4667-8752-947E366F30E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057884" y="219411"/>
            <a:ext cx="1635171" cy="237789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Insert Breadcrumbs</a:t>
            </a:r>
          </a:p>
        </p:txBody>
      </p:sp>
    </p:spTree>
    <p:extLst>
      <p:ext uri="{BB962C8B-B14F-4D97-AF65-F5344CB8AC3E}">
        <p14:creationId xmlns:p14="http://schemas.microsoft.com/office/powerpoint/2010/main" val="352484691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  <a:latin typeface="Open Sans" panose="020B0606030504020204" pitchFamily="34" charset="0"/>
              </a:rPr>
              <a:t>Presentation title</a:t>
            </a:r>
            <a:br>
              <a:rPr lang="en-US" sz="650" noProof="0">
                <a:solidFill>
                  <a:schemeClr val="bg1"/>
                </a:solidFill>
                <a:latin typeface="Open Sans" panose="020B0606030504020204" pitchFamily="34" charset="0"/>
              </a:rPr>
            </a:br>
            <a:r>
              <a:rPr lang="en-US" sz="650" noProof="0">
                <a:solidFill>
                  <a:schemeClr val="bg1"/>
                </a:solidFill>
                <a:latin typeface="Open Sans" panose="020B0606030504020204" pitchFamily="34" charset="0"/>
              </a:rPr>
              <a:t>[To edit, click View &gt; Slide Master &gt; Slide Master]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  <a:latin typeface="Open Sans" panose="020B0606030504020204" pitchFamily="34" charset="0"/>
              </a:rPr>
              <a:t>Member firms and DTTL: Insert appropriate copyright</a:t>
            </a:r>
            <a:br>
              <a:rPr lang="en-US" sz="650" noProof="0">
                <a:solidFill>
                  <a:schemeClr val="bg1"/>
                </a:solidFill>
                <a:latin typeface="Open Sans" panose="020B0606030504020204" pitchFamily="34" charset="0"/>
              </a:rPr>
            </a:br>
            <a:r>
              <a:rPr lang="en-US" sz="650" noProof="0">
                <a:solidFill>
                  <a:schemeClr val="bg1"/>
                </a:solidFill>
                <a:latin typeface="Open Sans" panose="020B0606030504020204" pitchFamily="34" charset="0"/>
              </a:rPr>
              <a:t>[To edit, click View &gt; Slide Master &gt; Slide Master]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  <a:latin typeface="Open Sans" panose="020B0606030504020204" pitchFamily="34" charset="0"/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  <a:latin typeface="Open Sans" panose="020B0606030504020204" pitchFamily="34" charset="0"/>
            </a:endParaRP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8030B2EF-247E-413E-BFC3-A173CFC9BFB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057884" y="219411"/>
            <a:ext cx="1635171" cy="237789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Insert Breadcrumbs</a:t>
            </a:r>
          </a:p>
        </p:txBody>
      </p:sp>
    </p:spTree>
    <p:extLst>
      <p:ext uri="{BB962C8B-B14F-4D97-AF65-F5344CB8AC3E}">
        <p14:creationId xmlns:p14="http://schemas.microsoft.com/office/powerpoint/2010/main" val="201328660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84" Type="http://schemas.openxmlformats.org/officeDocument/2006/relationships/image" Target="../media/image1.emf"/><Relationship Id="rId1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11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74" Type="http://schemas.openxmlformats.org/officeDocument/2006/relationships/slideLayout" Target="../slideLayouts/slideLayout74.xml"/><Relationship Id="rId79" Type="http://schemas.openxmlformats.org/officeDocument/2006/relationships/slideLayout" Target="../slideLayouts/slideLayout79.xml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82" Type="http://schemas.openxmlformats.org/officeDocument/2006/relationships/tags" Target="../tags/tag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77" Type="http://schemas.openxmlformats.org/officeDocument/2006/relationships/slideLayout" Target="../slideLayouts/slideLayout77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80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slideLayout" Target="../slideLayouts/slideLayout70.xml"/><Relationship Id="rId75" Type="http://schemas.openxmlformats.org/officeDocument/2006/relationships/slideLayout" Target="../slideLayouts/slideLayout75.xml"/><Relationship Id="rId83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slideLayout" Target="../slideLayouts/slideLayout73.xml"/><Relationship Id="rId78" Type="http://schemas.openxmlformats.org/officeDocument/2006/relationships/slideLayout" Target="../slideLayouts/slideLayout78.xml"/><Relationship Id="rId81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6" Type="http://schemas.openxmlformats.org/officeDocument/2006/relationships/slideLayout" Target="../slideLayouts/slideLayout76.xml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Relationship Id="rId24" Type="http://schemas.openxmlformats.org/officeDocument/2006/relationships/slideLayout" Target="../slideLayouts/slideLayout24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66" Type="http://schemas.openxmlformats.org/officeDocument/2006/relationships/slideLayout" Target="../slideLayouts/slideLayout6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82"/>
            </p:custDataLst>
            <p:extLst>
              <p:ext uri="{D42A27DB-BD31-4B8C-83A1-F6EECF244321}">
                <p14:modId xmlns:p14="http://schemas.microsoft.com/office/powerpoint/2010/main" val="1257587658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83" imgW="270" imgH="270" progId="TCLayout.ActiveDocument.1">
                  <p:embed/>
                </p:oleObj>
              </mc:Choice>
              <mc:Fallback>
                <p:oleObj name="think-cell Slide" r:id="rId83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8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679450" y="386074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1410953" y="6477000"/>
            <a:ext cx="30797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1000" spc="0" noProof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900" spc="0" noProof="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D6789626-C586-44B3-8246-3FA855745460}"/>
              </a:ext>
            </a:extLst>
          </p:cNvPr>
          <p:cNvSpPr txBox="1">
            <a:spLocks/>
          </p:cNvSpPr>
          <p:nvPr userDrawn="1"/>
        </p:nvSpPr>
        <p:spPr>
          <a:xfrm>
            <a:off x="914971" y="466344"/>
            <a:ext cx="3355848" cy="203200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pc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569769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3" r:id="rId1"/>
    <p:sldLayoutId id="2147483834" r:id="rId2"/>
    <p:sldLayoutId id="2147483835" r:id="rId3"/>
    <p:sldLayoutId id="2147483836" r:id="rId4"/>
    <p:sldLayoutId id="2147483837" r:id="rId5"/>
    <p:sldLayoutId id="2147483838" r:id="rId6"/>
    <p:sldLayoutId id="2147483839" r:id="rId7"/>
    <p:sldLayoutId id="2147483840" r:id="rId8"/>
    <p:sldLayoutId id="2147483841" r:id="rId9"/>
    <p:sldLayoutId id="2147483842" r:id="rId10"/>
    <p:sldLayoutId id="2147483843" r:id="rId11"/>
    <p:sldLayoutId id="2147483844" r:id="rId12"/>
    <p:sldLayoutId id="2147483845" r:id="rId13"/>
    <p:sldLayoutId id="2147483846" r:id="rId14"/>
    <p:sldLayoutId id="2147483847" r:id="rId15"/>
    <p:sldLayoutId id="2147483848" r:id="rId16"/>
    <p:sldLayoutId id="2147483849" r:id="rId17"/>
    <p:sldLayoutId id="2147483850" r:id="rId18"/>
    <p:sldLayoutId id="2147483851" r:id="rId19"/>
    <p:sldLayoutId id="2147483852" r:id="rId20"/>
    <p:sldLayoutId id="2147483853" r:id="rId21"/>
    <p:sldLayoutId id="2147483854" r:id="rId22"/>
    <p:sldLayoutId id="2147483855" r:id="rId23"/>
    <p:sldLayoutId id="2147483856" r:id="rId24"/>
    <p:sldLayoutId id="2147483857" r:id="rId25"/>
    <p:sldLayoutId id="2147483858" r:id="rId26"/>
    <p:sldLayoutId id="2147483859" r:id="rId27"/>
    <p:sldLayoutId id="2147483860" r:id="rId28"/>
    <p:sldLayoutId id="2147483861" r:id="rId29"/>
    <p:sldLayoutId id="2147483862" r:id="rId30"/>
    <p:sldLayoutId id="2147483863" r:id="rId31"/>
    <p:sldLayoutId id="2147483864" r:id="rId32"/>
    <p:sldLayoutId id="2147483865" r:id="rId33"/>
    <p:sldLayoutId id="2147483867" r:id="rId34"/>
    <p:sldLayoutId id="2147483868" r:id="rId35"/>
    <p:sldLayoutId id="2147483869" r:id="rId36"/>
    <p:sldLayoutId id="2147483870" r:id="rId37"/>
    <p:sldLayoutId id="2147483871" r:id="rId38"/>
    <p:sldLayoutId id="2147483872" r:id="rId39"/>
    <p:sldLayoutId id="2147483873" r:id="rId40"/>
    <p:sldLayoutId id="2147483874" r:id="rId41"/>
    <p:sldLayoutId id="2147483888" r:id="rId42"/>
    <p:sldLayoutId id="2147483889" r:id="rId43"/>
    <p:sldLayoutId id="2147483893" r:id="rId44"/>
    <p:sldLayoutId id="2147483895" r:id="rId45"/>
    <p:sldLayoutId id="2147483899" r:id="rId46"/>
    <p:sldLayoutId id="2147483901" r:id="rId47"/>
    <p:sldLayoutId id="2147483903" r:id="rId48"/>
    <p:sldLayoutId id="2147483908" r:id="rId49"/>
    <p:sldLayoutId id="2147483909" r:id="rId50"/>
    <p:sldLayoutId id="2147483911" r:id="rId51"/>
    <p:sldLayoutId id="2147483913" r:id="rId52"/>
    <p:sldLayoutId id="2147483917" r:id="rId53"/>
    <p:sldLayoutId id="2147483919" r:id="rId54"/>
    <p:sldLayoutId id="2147483921" r:id="rId55"/>
    <p:sldLayoutId id="2147483926" r:id="rId56"/>
    <p:sldLayoutId id="2147483927" r:id="rId57"/>
    <p:sldLayoutId id="2147483929" r:id="rId58"/>
    <p:sldLayoutId id="2147483931" r:id="rId59"/>
    <p:sldLayoutId id="2147483935" r:id="rId60"/>
    <p:sldLayoutId id="2147483937" r:id="rId61"/>
    <p:sldLayoutId id="2147483939" r:id="rId62"/>
    <p:sldLayoutId id="2147483944" r:id="rId63"/>
    <p:sldLayoutId id="2147483945" r:id="rId64"/>
    <p:sldLayoutId id="2147483947" r:id="rId65"/>
    <p:sldLayoutId id="2147483949" r:id="rId66"/>
    <p:sldLayoutId id="2147483953" r:id="rId67"/>
    <p:sldLayoutId id="2147483955" r:id="rId68"/>
    <p:sldLayoutId id="2147483957" r:id="rId69"/>
    <p:sldLayoutId id="2147483962" r:id="rId70"/>
    <p:sldLayoutId id="2147483963" r:id="rId71"/>
    <p:sldLayoutId id="2147483965" r:id="rId72"/>
    <p:sldLayoutId id="2147483967" r:id="rId73"/>
    <p:sldLayoutId id="2147483971" r:id="rId74"/>
    <p:sldLayoutId id="2147483973" r:id="rId75"/>
    <p:sldLayoutId id="2147483975" r:id="rId76"/>
    <p:sldLayoutId id="2147483980" r:id="rId77"/>
    <p:sldLayoutId id="2147483981" r:id="rId78"/>
    <p:sldLayoutId id="2147483982" r:id="rId79"/>
  </p:sldLayoutIdLst>
  <p:transition>
    <p:fade/>
  </p:transition>
  <p:txStyles>
    <p:titleStyle>
      <a:lvl1pPr algn="l" defTabSz="1219170" rtl="0" eaLnBrk="1" latinLnBrk="0" hangingPunct="1">
        <a:spcBef>
          <a:spcPct val="0"/>
        </a:spcBef>
        <a:buNone/>
        <a:defRPr sz="2000" kern="1200" spc="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 typeface="Arial" panose="020B0604020202020204" pitchFamily="34" charset="0"/>
        <a:buNone/>
        <a:defRPr sz="1200" b="0" kern="1200" spc="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1pPr>
      <a:lvl2pPr marL="0" indent="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/>
        <a:buNone/>
        <a:defRPr lang="en-US" sz="1200" b="1" kern="1200" spc="0" dirty="0" smtClean="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2pPr>
      <a:lvl3pPr marL="235194" indent="-235194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kern="1200" spc="0" dirty="0" smtClean="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3pPr>
      <a:lvl4pPr marL="475188" indent="-235194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Verdana" panose="020B0604030504040204" pitchFamily="34" charset="0"/>
        <a:buChar char="−"/>
        <a:defRPr lang="en-US" sz="1200" kern="1200" spc="0" baseline="0" dirty="0" smtClean="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4pPr>
      <a:lvl5pPr marL="710382" indent="-235194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Verdana" panose="020B0604030504040204" pitchFamily="34" charset="0"/>
        <a:buChar char="−"/>
        <a:tabLst/>
        <a:defRPr lang="en-US" sz="1200" kern="1200" spc="0" baseline="0" dirty="0" smtClean="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98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3968">
          <p15:clr>
            <a:srgbClr val="F26B43"/>
          </p15:clr>
        </p15:guide>
        <p15:guide id="4" pos="296">
          <p15:clr>
            <a:srgbClr val="F26B43"/>
          </p15:clr>
        </p15:guide>
        <p15:guide id="5" pos="738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45">
          <p15:clr>
            <a:srgbClr val="F26B43"/>
          </p15:clr>
        </p15:guide>
        <p15:guide id="8" orient="horz" pos="4081">
          <p15:clr>
            <a:srgbClr val="F26B43"/>
          </p15:clr>
        </p15:guide>
        <p15:guide id="10" pos="4986">
          <p15:clr>
            <a:srgbClr val="F26B43"/>
          </p15:clr>
        </p15:guide>
        <p15:guide id="12" pos="1382">
          <p15:clr>
            <a:srgbClr val="F26B43"/>
          </p15:clr>
        </p15:guide>
        <p15:guide id="13" pos="1496">
          <p15:clr>
            <a:srgbClr val="F26B43"/>
          </p15:clr>
        </p15:guide>
        <p15:guide id="14" pos="2581">
          <p15:clr>
            <a:srgbClr val="F26B43"/>
          </p15:clr>
        </p15:guide>
        <p15:guide id="15" pos="2695">
          <p15:clr>
            <a:srgbClr val="F26B43"/>
          </p15:clr>
        </p15:guide>
        <p15:guide id="16" pos="6185">
          <p15:clr>
            <a:srgbClr val="F26B43"/>
          </p15:clr>
        </p15:guide>
        <p15:guide id="17" pos="3783">
          <p15:clr>
            <a:srgbClr val="F26B43"/>
          </p15:clr>
        </p15:guide>
        <p15:guide id="18" pos="3896">
          <p15:clr>
            <a:srgbClr val="F26B43"/>
          </p15:clr>
        </p15:guide>
        <p15:guide id="19" pos="3840">
          <p15:clr>
            <a:srgbClr val="F26B43"/>
          </p15:clr>
        </p15:guide>
        <p15:guide id="20" pos="6299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1">
          <p15:clr>
            <a:srgbClr val="F26B43"/>
          </p15:clr>
        </p15:guide>
        <p15:guide id="23" orient="horz" pos="28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3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16.svg"/><Relationship Id="rId7" Type="http://schemas.openxmlformats.org/officeDocument/2006/relationships/image" Target="../media/image13.sv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7.xml"/><Relationship Id="rId6" Type="http://schemas.openxmlformats.org/officeDocument/2006/relationships/image" Target="../media/image12.png"/><Relationship Id="rId5" Type="http://schemas.openxmlformats.org/officeDocument/2006/relationships/image" Target="../media/image21.svg"/><Relationship Id="rId4" Type="http://schemas.openxmlformats.org/officeDocument/2006/relationships/image" Target="../media/image20.png"/><Relationship Id="rId9" Type="http://schemas.openxmlformats.org/officeDocument/2006/relationships/image" Target="../media/image28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3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image" Target="../media/image16.svg"/><Relationship Id="rId7" Type="http://schemas.openxmlformats.org/officeDocument/2006/relationships/image" Target="../media/image13.sv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7.xml"/><Relationship Id="rId6" Type="http://schemas.openxmlformats.org/officeDocument/2006/relationships/image" Target="../media/image12.png"/><Relationship Id="rId5" Type="http://schemas.openxmlformats.org/officeDocument/2006/relationships/image" Target="../media/image21.svg"/><Relationship Id="rId4" Type="http://schemas.openxmlformats.org/officeDocument/2006/relationships/image" Target="../media/image20.png"/><Relationship Id="rId9" Type="http://schemas.openxmlformats.org/officeDocument/2006/relationships/image" Target="../media/image30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image" Target="../media/image16.svg"/><Relationship Id="rId7" Type="http://schemas.openxmlformats.org/officeDocument/2006/relationships/image" Target="../media/image13.sv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7.xml"/><Relationship Id="rId6" Type="http://schemas.openxmlformats.org/officeDocument/2006/relationships/image" Target="../media/image12.png"/><Relationship Id="rId5" Type="http://schemas.openxmlformats.org/officeDocument/2006/relationships/image" Target="../media/image21.svg"/><Relationship Id="rId10" Type="http://schemas.openxmlformats.org/officeDocument/2006/relationships/image" Target="../media/image33.png"/><Relationship Id="rId4" Type="http://schemas.openxmlformats.org/officeDocument/2006/relationships/image" Target="../media/image20.png"/><Relationship Id="rId9" Type="http://schemas.openxmlformats.org/officeDocument/2006/relationships/image" Target="../media/image32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image" Target="../media/image16.svg"/><Relationship Id="rId7" Type="http://schemas.openxmlformats.org/officeDocument/2006/relationships/image" Target="../media/image13.sv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7.xml"/><Relationship Id="rId6" Type="http://schemas.openxmlformats.org/officeDocument/2006/relationships/image" Target="../media/image12.png"/><Relationship Id="rId5" Type="http://schemas.openxmlformats.org/officeDocument/2006/relationships/image" Target="../media/image21.svg"/><Relationship Id="rId4" Type="http://schemas.openxmlformats.org/officeDocument/2006/relationships/image" Target="../media/image20.png"/><Relationship Id="rId9" Type="http://schemas.openxmlformats.org/officeDocument/2006/relationships/image" Target="../media/image35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3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image" Target="../media/image16.svg"/><Relationship Id="rId7" Type="http://schemas.openxmlformats.org/officeDocument/2006/relationships/image" Target="../media/image13.sv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7.xml"/><Relationship Id="rId6" Type="http://schemas.openxmlformats.org/officeDocument/2006/relationships/image" Target="../media/image12.png"/><Relationship Id="rId5" Type="http://schemas.openxmlformats.org/officeDocument/2006/relationships/image" Target="../media/image21.svg"/><Relationship Id="rId10" Type="http://schemas.openxmlformats.org/officeDocument/2006/relationships/image" Target="../media/image38.png"/><Relationship Id="rId4" Type="http://schemas.openxmlformats.org/officeDocument/2006/relationships/image" Target="../media/image20.png"/><Relationship Id="rId9" Type="http://schemas.openxmlformats.org/officeDocument/2006/relationships/image" Target="../media/image37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image" Target="../media/image16.svg"/><Relationship Id="rId7" Type="http://schemas.openxmlformats.org/officeDocument/2006/relationships/image" Target="../media/image13.sv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7.xml"/><Relationship Id="rId6" Type="http://schemas.openxmlformats.org/officeDocument/2006/relationships/image" Target="../media/image12.png"/><Relationship Id="rId5" Type="http://schemas.openxmlformats.org/officeDocument/2006/relationships/image" Target="../media/image21.svg"/><Relationship Id="rId10" Type="http://schemas.openxmlformats.org/officeDocument/2006/relationships/image" Target="../media/image41.png"/><Relationship Id="rId4" Type="http://schemas.openxmlformats.org/officeDocument/2006/relationships/image" Target="../media/image20.png"/><Relationship Id="rId9" Type="http://schemas.openxmlformats.org/officeDocument/2006/relationships/image" Target="../media/image40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openxmlformats.org/officeDocument/2006/relationships/image" Target="../media/image16.svg"/><Relationship Id="rId7" Type="http://schemas.openxmlformats.org/officeDocument/2006/relationships/image" Target="../media/image13.sv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7.xml"/><Relationship Id="rId6" Type="http://schemas.openxmlformats.org/officeDocument/2006/relationships/image" Target="../media/image12.png"/><Relationship Id="rId11" Type="http://schemas.openxmlformats.org/officeDocument/2006/relationships/image" Target="../media/image45.png"/><Relationship Id="rId5" Type="http://schemas.openxmlformats.org/officeDocument/2006/relationships/image" Target="../media/image21.svg"/><Relationship Id="rId10" Type="http://schemas.openxmlformats.org/officeDocument/2006/relationships/image" Target="../media/image44.png"/><Relationship Id="rId4" Type="http://schemas.openxmlformats.org/officeDocument/2006/relationships/image" Target="../media/image20.png"/><Relationship Id="rId9" Type="http://schemas.openxmlformats.org/officeDocument/2006/relationships/image" Target="../media/image43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openxmlformats.org/officeDocument/2006/relationships/image" Target="../media/image16.svg"/><Relationship Id="rId7" Type="http://schemas.openxmlformats.org/officeDocument/2006/relationships/image" Target="../media/image13.sv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7.xml"/><Relationship Id="rId6" Type="http://schemas.openxmlformats.org/officeDocument/2006/relationships/image" Target="../media/image12.png"/><Relationship Id="rId11" Type="http://schemas.openxmlformats.org/officeDocument/2006/relationships/image" Target="../media/image48.png"/><Relationship Id="rId5" Type="http://schemas.openxmlformats.org/officeDocument/2006/relationships/image" Target="../media/image21.svg"/><Relationship Id="rId10" Type="http://schemas.openxmlformats.org/officeDocument/2006/relationships/image" Target="../media/image47.png"/><Relationship Id="rId4" Type="http://schemas.openxmlformats.org/officeDocument/2006/relationships/image" Target="../media/image20.png"/><Relationship Id="rId9" Type="http://schemas.openxmlformats.org/officeDocument/2006/relationships/image" Target="../media/image46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7.png"/><Relationship Id="rId7" Type="http://schemas.openxmlformats.org/officeDocument/2006/relationships/image" Target="../media/image11.sv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1.xml"/><Relationship Id="rId6" Type="http://schemas.openxmlformats.org/officeDocument/2006/relationships/image" Target="../media/image10.png"/><Relationship Id="rId5" Type="http://schemas.openxmlformats.org/officeDocument/2006/relationships/image" Target="../media/image9.svg"/><Relationship Id="rId4" Type="http://schemas.openxmlformats.org/officeDocument/2006/relationships/image" Target="../media/image8.png"/><Relationship Id="rId9" Type="http://schemas.openxmlformats.org/officeDocument/2006/relationships/image" Target="../media/image13.sv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image" Target="../media/image16.svg"/><Relationship Id="rId7" Type="http://schemas.openxmlformats.org/officeDocument/2006/relationships/image" Target="../media/image13.sv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7.xml"/><Relationship Id="rId6" Type="http://schemas.openxmlformats.org/officeDocument/2006/relationships/image" Target="../media/image12.png"/><Relationship Id="rId5" Type="http://schemas.openxmlformats.org/officeDocument/2006/relationships/image" Target="../media/image21.svg"/><Relationship Id="rId4" Type="http://schemas.openxmlformats.org/officeDocument/2006/relationships/image" Target="../media/image20.png"/><Relationship Id="rId9" Type="http://schemas.openxmlformats.org/officeDocument/2006/relationships/image" Target="../media/image50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hyperlink" Target="https://towardsdatascience.com/an-easy-way-to-draw-spider-charts-on-tableau-part-2-377e3a497f39" TargetMode="External"/><Relationship Id="rId3" Type="http://schemas.openxmlformats.org/officeDocument/2006/relationships/image" Target="../media/image16.svg"/><Relationship Id="rId7" Type="http://schemas.openxmlformats.org/officeDocument/2006/relationships/image" Target="../media/image13.svg"/><Relationship Id="rId12" Type="http://schemas.openxmlformats.org/officeDocument/2006/relationships/image" Target="../media/image53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7.xml"/><Relationship Id="rId6" Type="http://schemas.openxmlformats.org/officeDocument/2006/relationships/image" Target="../media/image12.png"/><Relationship Id="rId11" Type="http://schemas.openxmlformats.org/officeDocument/2006/relationships/image" Target="../media/image52.png"/><Relationship Id="rId5" Type="http://schemas.openxmlformats.org/officeDocument/2006/relationships/image" Target="../media/image21.svg"/><Relationship Id="rId10" Type="http://schemas.openxmlformats.org/officeDocument/2006/relationships/image" Target="../media/image51.png"/><Relationship Id="rId4" Type="http://schemas.openxmlformats.org/officeDocument/2006/relationships/image" Target="../media/image20.png"/><Relationship Id="rId9" Type="http://schemas.openxmlformats.org/officeDocument/2006/relationships/hyperlink" Target="https://www.tableau.com/about/blog/2015/7/use-radar-charts-compare-dimensions-over-several-metrics-41592" TargetMode="Externa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hyperlink" Target="https://towardsdatascience.com/an-easy-way-to-draw-spider-charts-on-tableau-part-2-377e3a497f39" TargetMode="External"/><Relationship Id="rId13" Type="http://schemas.openxmlformats.org/officeDocument/2006/relationships/image" Target="../media/image57.png"/><Relationship Id="rId3" Type="http://schemas.openxmlformats.org/officeDocument/2006/relationships/image" Target="../media/image16.svg"/><Relationship Id="rId7" Type="http://schemas.openxmlformats.org/officeDocument/2006/relationships/image" Target="../media/image13.svg"/><Relationship Id="rId12" Type="http://schemas.openxmlformats.org/officeDocument/2006/relationships/image" Target="../media/image56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7.xml"/><Relationship Id="rId6" Type="http://schemas.openxmlformats.org/officeDocument/2006/relationships/image" Target="../media/image12.png"/><Relationship Id="rId11" Type="http://schemas.openxmlformats.org/officeDocument/2006/relationships/image" Target="../media/image55.png"/><Relationship Id="rId5" Type="http://schemas.openxmlformats.org/officeDocument/2006/relationships/image" Target="../media/image21.svg"/><Relationship Id="rId10" Type="http://schemas.openxmlformats.org/officeDocument/2006/relationships/image" Target="../media/image54.png"/><Relationship Id="rId4" Type="http://schemas.openxmlformats.org/officeDocument/2006/relationships/image" Target="../media/image20.png"/><Relationship Id="rId9" Type="http://schemas.openxmlformats.org/officeDocument/2006/relationships/hyperlink" Target="https://www.tableau.com/about/blog/2015/7/use-radar-charts-compare-dimensions-over-several-metrics-41592" TargetMode="Externa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9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png"/><Relationship Id="rId3" Type="http://schemas.openxmlformats.org/officeDocument/2006/relationships/image" Target="../media/image16.svg"/><Relationship Id="rId7" Type="http://schemas.openxmlformats.org/officeDocument/2006/relationships/image" Target="../media/image13.sv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7.xml"/><Relationship Id="rId6" Type="http://schemas.openxmlformats.org/officeDocument/2006/relationships/image" Target="../media/image12.png"/><Relationship Id="rId5" Type="http://schemas.openxmlformats.org/officeDocument/2006/relationships/image" Target="../media/image21.svg"/><Relationship Id="rId4" Type="http://schemas.openxmlformats.org/officeDocument/2006/relationships/image" Target="../media/image20.png"/><Relationship Id="rId9" Type="http://schemas.openxmlformats.org/officeDocument/2006/relationships/image" Target="../media/image59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7" Type="http://schemas.openxmlformats.org/officeDocument/2006/relationships/image" Target="../media/image13.sv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7.xml"/><Relationship Id="rId6" Type="http://schemas.openxmlformats.org/officeDocument/2006/relationships/image" Target="../media/image12.png"/><Relationship Id="rId5" Type="http://schemas.openxmlformats.org/officeDocument/2006/relationships/image" Target="../media/image21.svg"/><Relationship Id="rId4" Type="http://schemas.openxmlformats.org/officeDocument/2006/relationships/image" Target="../media/image20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png"/><Relationship Id="rId3" Type="http://schemas.openxmlformats.org/officeDocument/2006/relationships/image" Target="../media/image16.svg"/><Relationship Id="rId7" Type="http://schemas.openxmlformats.org/officeDocument/2006/relationships/image" Target="../media/image13.sv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7.xml"/><Relationship Id="rId6" Type="http://schemas.openxmlformats.org/officeDocument/2006/relationships/image" Target="../media/image12.png"/><Relationship Id="rId5" Type="http://schemas.openxmlformats.org/officeDocument/2006/relationships/image" Target="../media/image21.svg"/><Relationship Id="rId4" Type="http://schemas.openxmlformats.org/officeDocument/2006/relationships/image" Target="../media/image20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image" Target="../media/image16.svg"/><Relationship Id="rId7" Type="http://schemas.openxmlformats.org/officeDocument/2006/relationships/image" Target="../media/image13.sv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7.xml"/><Relationship Id="rId6" Type="http://schemas.openxmlformats.org/officeDocument/2006/relationships/image" Target="../media/image12.png"/><Relationship Id="rId5" Type="http://schemas.openxmlformats.org/officeDocument/2006/relationships/image" Target="../media/image21.svg"/><Relationship Id="rId4" Type="http://schemas.openxmlformats.org/officeDocument/2006/relationships/image" Target="../media/image2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image" Target="../media/image18.svg"/><Relationship Id="rId3" Type="http://schemas.openxmlformats.org/officeDocument/2006/relationships/tags" Target="../tags/tag23.xml"/><Relationship Id="rId7" Type="http://schemas.openxmlformats.org/officeDocument/2006/relationships/image" Target="../media/image3.emf"/><Relationship Id="rId12" Type="http://schemas.openxmlformats.org/officeDocument/2006/relationships/image" Target="../media/image17.png"/><Relationship Id="rId2" Type="http://schemas.openxmlformats.org/officeDocument/2006/relationships/tags" Target="../tags/tag22.xml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17.bin"/><Relationship Id="rId11" Type="http://schemas.openxmlformats.org/officeDocument/2006/relationships/image" Target="../media/image11.svg"/><Relationship Id="rId5" Type="http://schemas.openxmlformats.org/officeDocument/2006/relationships/notesSlide" Target="../notesSlides/notesSlide4.xml"/><Relationship Id="rId10" Type="http://schemas.openxmlformats.org/officeDocument/2006/relationships/image" Target="../media/image10.png"/><Relationship Id="rId4" Type="http://schemas.openxmlformats.org/officeDocument/2006/relationships/slideLayout" Target="../slideLayouts/slideLayout42.xml"/><Relationship Id="rId9" Type="http://schemas.openxmlformats.org/officeDocument/2006/relationships/image" Target="../media/image16.sv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image" Target="../media/image18.svg"/><Relationship Id="rId3" Type="http://schemas.openxmlformats.org/officeDocument/2006/relationships/tags" Target="../tags/tag25.xml"/><Relationship Id="rId7" Type="http://schemas.openxmlformats.org/officeDocument/2006/relationships/image" Target="../media/image3.emf"/><Relationship Id="rId12" Type="http://schemas.openxmlformats.org/officeDocument/2006/relationships/image" Target="../media/image17.png"/><Relationship Id="rId2" Type="http://schemas.openxmlformats.org/officeDocument/2006/relationships/tags" Target="../tags/tag24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18.bin"/><Relationship Id="rId11" Type="http://schemas.openxmlformats.org/officeDocument/2006/relationships/image" Target="../media/image11.svg"/><Relationship Id="rId5" Type="http://schemas.openxmlformats.org/officeDocument/2006/relationships/notesSlide" Target="../notesSlides/notesSlide5.xml"/><Relationship Id="rId10" Type="http://schemas.openxmlformats.org/officeDocument/2006/relationships/image" Target="../media/image10.png"/><Relationship Id="rId4" Type="http://schemas.openxmlformats.org/officeDocument/2006/relationships/slideLayout" Target="../slideLayouts/slideLayout42.xml"/><Relationship Id="rId9" Type="http://schemas.openxmlformats.org/officeDocument/2006/relationships/image" Target="../media/image16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7" Type="http://schemas.openxmlformats.org/officeDocument/2006/relationships/image" Target="../media/image13.sv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7.xml"/><Relationship Id="rId6" Type="http://schemas.openxmlformats.org/officeDocument/2006/relationships/image" Target="../media/image12.png"/><Relationship Id="rId5" Type="http://schemas.openxmlformats.org/officeDocument/2006/relationships/image" Target="../media/image21.svg"/><Relationship Id="rId4" Type="http://schemas.openxmlformats.org/officeDocument/2006/relationships/image" Target="../media/image20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hyperlink" Target="https://help.tableau.com/current/pro/desktop/en-us/examples_snowflake.htm" TargetMode="External"/><Relationship Id="rId3" Type="http://schemas.openxmlformats.org/officeDocument/2006/relationships/image" Target="../media/image16.svg"/><Relationship Id="rId7" Type="http://schemas.openxmlformats.org/officeDocument/2006/relationships/image" Target="../media/image13.sv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7.xml"/><Relationship Id="rId6" Type="http://schemas.openxmlformats.org/officeDocument/2006/relationships/image" Target="../media/image12.png"/><Relationship Id="rId5" Type="http://schemas.openxmlformats.org/officeDocument/2006/relationships/image" Target="../media/image21.svg"/><Relationship Id="rId10" Type="http://schemas.openxmlformats.org/officeDocument/2006/relationships/image" Target="../media/image23.png"/><Relationship Id="rId4" Type="http://schemas.openxmlformats.org/officeDocument/2006/relationships/image" Target="../media/image20.png"/><Relationship Id="rId9" Type="http://schemas.openxmlformats.org/officeDocument/2006/relationships/image" Target="../media/image22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image" Target="../media/image16.svg"/><Relationship Id="rId7" Type="http://schemas.openxmlformats.org/officeDocument/2006/relationships/image" Target="../media/image13.sv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7.xml"/><Relationship Id="rId6" Type="http://schemas.openxmlformats.org/officeDocument/2006/relationships/image" Target="../media/image12.png"/><Relationship Id="rId5" Type="http://schemas.openxmlformats.org/officeDocument/2006/relationships/image" Target="../media/image21.svg"/><Relationship Id="rId10" Type="http://schemas.openxmlformats.org/officeDocument/2006/relationships/image" Target="../media/image26.png"/><Relationship Id="rId4" Type="http://schemas.openxmlformats.org/officeDocument/2006/relationships/image" Target="../media/image20.png"/><Relationship Id="rId9" Type="http://schemas.openxmlformats.org/officeDocument/2006/relationships/image" Target="../media/image2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7016D6-71EF-470F-BD75-3B45D1854D43}"/>
              </a:ext>
            </a:extLst>
          </p:cNvPr>
          <p:cNvSpPr/>
          <p:nvPr/>
        </p:nvSpPr>
        <p:spPr>
          <a:xfrm>
            <a:off x="0" y="-1"/>
            <a:ext cx="12192000" cy="6857999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Open Sans" panose="020B0606030504020204" pitchFamily="34" charset="0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3620E89-5223-45CE-BC09-FE260DEC6BB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/>
      </p:sp>
      <p:pic>
        <p:nvPicPr>
          <p:cNvPr id="7" name="Picture Placeholder 8" descr="A picture containing light, dark&#10;&#10;Description automatically generated">
            <a:extLst>
              <a:ext uri="{FF2B5EF4-FFF2-40B4-BE49-F238E27FC236}">
                <a16:creationId xmlns:a16="http://schemas.microsoft.com/office/drawing/2014/main" id="{6A82E190-A438-4021-BA3D-46188FB8303C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15" r="15"/>
          <a:stretch>
            <a:fillRect/>
          </a:stretch>
        </p:blipFill>
        <p:spPr>
          <a:xfrm>
            <a:off x="4598583" y="0"/>
            <a:ext cx="6592584" cy="6858000"/>
          </a:xfrm>
          <a:prstGeom prst="rect">
            <a:avLst/>
          </a:prstGeom>
        </p:spPr>
      </p:pic>
      <p:sp>
        <p:nvSpPr>
          <p:cNvPr id="16" name="Title 3">
            <a:extLst>
              <a:ext uri="{FF2B5EF4-FFF2-40B4-BE49-F238E27FC236}">
                <a16:creationId xmlns:a16="http://schemas.microsoft.com/office/drawing/2014/main" id="{71CC6877-37EB-4319-8B4B-BF7B394326C8}"/>
              </a:ext>
            </a:extLst>
          </p:cNvPr>
          <p:cNvSpPr txBox="1">
            <a:spLocks/>
          </p:cNvSpPr>
          <p:nvPr/>
        </p:nvSpPr>
        <p:spPr>
          <a:xfrm>
            <a:off x="921933" y="2878667"/>
            <a:ext cx="4776903" cy="2634103"/>
          </a:xfrm>
          <a:prstGeom prst="rect">
            <a:avLst/>
          </a:prstGeom>
        </p:spPr>
        <p:txBody>
          <a:bodyPr vert="horz" lIns="0" tIns="45720" rIns="91440" bIns="0" rtlCol="0" anchor="b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800" b="1" i="0" kern="1200" cap="none" spc="-100" baseline="0">
                <a:solidFill>
                  <a:schemeClr val="tx1"/>
                </a:solidFill>
                <a:latin typeface="+mn-lt"/>
                <a:ea typeface="Bebas Neue" charset="0"/>
                <a:cs typeface="Chronicle Display Black"/>
              </a:defRPr>
            </a:lvl1pPr>
          </a:lstStyle>
          <a:p>
            <a:r>
              <a:rPr lang="en-US" sz="3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I Readiness Assessment Standard Operating Procedure</a:t>
            </a:r>
          </a:p>
          <a:p>
            <a:endParaRPr lang="en-US" sz="3200" i="1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r>
              <a:rPr lang="en-US" sz="3200" i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ableau Development</a:t>
            </a:r>
          </a:p>
        </p:txBody>
      </p:sp>
      <p:sp>
        <p:nvSpPr>
          <p:cNvPr id="6" name="Title 3">
            <a:extLst>
              <a:ext uri="{FF2B5EF4-FFF2-40B4-BE49-F238E27FC236}">
                <a16:creationId xmlns:a16="http://schemas.microsoft.com/office/drawing/2014/main" id="{90C2B405-EC68-4007-B84C-4B8C0D29CAD7}"/>
              </a:ext>
            </a:extLst>
          </p:cNvPr>
          <p:cNvSpPr txBox="1">
            <a:spLocks/>
          </p:cNvSpPr>
          <p:nvPr/>
        </p:nvSpPr>
        <p:spPr>
          <a:xfrm>
            <a:off x="921932" y="5512770"/>
            <a:ext cx="4776903" cy="379825"/>
          </a:xfrm>
          <a:prstGeom prst="rect">
            <a:avLst/>
          </a:prstGeom>
        </p:spPr>
        <p:txBody>
          <a:bodyPr vert="horz" lIns="0" tIns="45720" rIns="9144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800" b="1" i="0" kern="1200" cap="none" spc="-100" baseline="0">
                <a:solidFill>
                  <a:schemeClr val="tx1"/>
                </a:solidFill>
                <a:latin typeface="+mn-lt"/>
                <a:ea typeface="Bebas Neue" charset="0"/>
                <a:cs typeface="Chronicle Display Black"/>
              </a:defRPr>
            </a:lvl1pPr>
          </a:lstStyle>
          <a:p>
            <a:r>
              <a:rPr lang="en-US" sz="1800" b="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ebruary 2022</a:t>
            </a:r>
          </a:p>
          <a:p>
            <a:endParaRPr lang="en-US" sz="16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237450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5DAED6B1-6292-6247-980F-02C1909970F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9900" y="736689"/>
            <a:ext cx="11252200" cy="283090"/>
          </a:xfrm>
        </p:spPr>
        <p:txBody>
          <a:bodyPr/>
          <a:lstStyle/>
          <a:p>
            <a:r>
              <a:rPr lang="en-US" sz="1200" dirty="0"/>
              <a:t>Connect to Snowflake from Tableau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3EC109-DCC4-D84A-96DD-9E1DD06C1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16990"/>
          </a:xfrm>
        </p:spPr>
        <p:txBody>
          <a:bodyPr/>
          <a:lstStyle/>
          <a:p>
            <a:r>
              <a:rPr lang="en-US" b="1" spc="0" dirty="0"/>
              <a:t>Connect to Data | </a:t>
            </a:r>
            <a:r>
              <a:rPr lang="en-US" dirty="0"/>
              <a:t>Data Sourc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E6DFAAE-C9C6-9D46-B795-9BC79C578A16}"/>
              </a:ext>
            </a:extLst>
          </p:cNvPr>
          <p:cNvGrpSpPr/>
          <p:nvPr/>
        </p:nvGrpSpPr>
        <p:grpSpPr>
          <a:xfrm>
            <a:off x="10272038" y="173150"/>
            <a:ext cx="1632640" cy="366837"/>
            <a:chOff x="10272038" y="173150"/>
            <a:chExt cx="1632640" cy="366837"/>
          </a:xfrm>
        </p:grpSpPr>
        <p:grpSp>
          <p:nvGrpSpPr>
            <p:cNvPr id="7" name="Group 53">
              <a:extLst>
                <a:ext uri="{FF2B5EF4-FFF2-40B4-BE49-F238E27FC236}">
                  <a16:creationId xmlns:a16="http://schemas.microsoft.com/office/drawing/2014/main" id="{6C2C28C1-636A-1340-B840-A66A9F1DF6AB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0272038" y="173150"/>
              <a:ext cx="365760" cy="366837"/>
              <a:chOff x="5183" y="1046"/>
              <a:chExt cx="340" cy="341"/>
            </a:xfrm>
            <a:solidFill>
              <a:schemeClr val="bg1">
                <a:lumMod val="75000"/>
              </a:schemeClr>
            </a:solidFill>
          </p:grpSpPr>
          <p:sp>
            <p:nvSpPr>
              <p:cNvPr id="17" name="Freeform 54">
                <a:extLst>
                  <a:ext uri="{FF2B5EF4-FFF2-40B4-BE49-F238E27FC236}">
                    <a16:creationId xmlns:a16="http://schemas.microsoft.com/office/drawing/2014/main" id="{B3E3306A-20E7-4246-B14C-099787069D1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47" y="1110"/>
                <a:ext cx="212" cy="213"/>
              </a:xfrm>
              <a:custGeom>
                <a:avLst/>
                <a:gdLst>
                  <a:gd name="T0" fmla="*/ 160 w 320"/>
                  <a:gd name="T1" fmla="*/ 0 h 320"/>
                  <a:gd name="T2" fmla="*/ 0 w 320"/>
                  <a:gd name="T3" fmla="*/ 160 h 320"/>
                  <a:gd name="T4" fmla="*/ 160 w 320"/>
                  <a:gd name="T5" fmla="*/ 320 h 320"/>
                  <a:gd name="T6" fmla="*/ 320 w 320"/>
                  <a:gd name="T7" fmla="*/ 160 h 320"/>
                  <a:gd name="T8" fmla="*/ 160 w 320"/>
                  <a:gd name="T9" fmla="*/ 0 h 320"/>
                  <a:gd name="T10" fmla="*/ 283 w 320"/>
                  <a:gd name="T11" fmla="*/ 224 h 320"/>
                  <a:gd name="T12" fmla="*/ 218 w 320"/>
                  <a:gd name="T13" fmla="*/ 224 h 320"/>
                  <a:gd name="T14" fmla="*/ 223 w 320"/>
                  <a:gd name="T15" fmla="*/ 170 h 320"/>
                  <a:gd name="T16" fmla="*/ 298 w 320"/>
                  <a:gd name="T17" fmla="*/ 170 h 320"/>
                  <a:gd name="T18" fmla="*/ 283 w 320"/>
                  <a:gd name="T19" fmla="*/ 224 h 320"/>
                  <a:gd name="T20" fmla="*/ 160 w 320"/>
                  <a:gd name="T21" fmla="*/ 298 h 320"/>
                  <a:gd name="T22" fmla="*/ 127 w 320"/>
                  <a:gd name="T23" fmla="*/ 245 h 320"/>
                  <a:gd name="T24" fmla="*/ 192 w 320"/>
                  <a:gd name="T25" fmla="*/ 245 h 320"/>
                  <a:gd name="T26" fmla="*/ 160 w 320"/>
                  <a:gd name="T27" fmla="*/ 298 h 320"/>
                  <a:gd name="T28" fmla="*/ 122 w 320"/>
                  <a:gd name="T29" fmla="*/ 224 h 320"/>
                  <a:gd name="T30" fmla="*/ 117 w 320"/>
                  <a:gd name="T31" fmla="*/ 170 h 320"/>
                  <a:gd name="T32" fmla="*/ 202 w 320"/>
                  <a:gd name="T33" fmla="*/ 170 h 320"/>
                  <a:gd name="T34" fmla="*/ 197 w 320"/>
                  <a:gd name="T35" fmla="*/ 224 h 320"/>
                  <a:gd name="T36" fmla="*/ 122 w 320"/>
                  <a:gd name="T37" fmla="*/ 224 h 320"/>
                  <a:gd name="T38" fmla="*/ 22 w 320"/>
                  <a:gd name="T39" fmla="*/ 170 h 320"/>
                  <a:gd name="T40" fmla="*/ 96 w 320"/>
                  <a:gd name="T41" fmla="*/ 170 h 320"/>
                  <a:gd name="T42" fmla="*/ 101 w 320"/>
                  <a:gd name="T43" fmla="*/ 224 h 320"/>
                  <a:gd name="T44" fmla="*/ 37 w 320"/>
                  <a:gd name="T45" fmla="*/ 224 h 320"/>
                  <a:gd name="T46" fmla="*/ 22 w 320"/>
                  <a:gd name="T47" fmla="*/ 170 h 320"/>
                  <a:gd name="T48" fmla="*/ 37 w 320"/>
                  <a:gd name="T49" fmla="*/ 96 h 320"/>
                  <a:gd name="T50" fmla="*/ 101 w 320"/>
                  <a:gd name="T51" fmla="*/ 96 h 320"/>
                  <a:gd name="T52" fmla="*/ 96 w 320"/>
                  <a:gd name="T53" fmla="*/ 149 h 320"/>
                  <a:gd name="T54" fmla="*/ 22 w 320"/>
                  <a:gd name="T55" fmla="*/ 149 h 320"/>
                  <a:gd name="T56" fmla="*/ 37 w 320"/>
                  <a:gd name="T57" fmla="*/ 96 h 320"/>
                  <a:gd name="T58" fmla="*/ 160 w 320"/>
                  <a:gd name="T59" fmla="*/ 21 h 320"/>
                  <a:gd name="T60" fmla="*/ 192 w 320"/>
                  <a:gd name="T61" fmla="*/ 74 h 320"/>
                  <a:gd name="T62" fmla="*/ 127 w 320"/>
                  <a:gd name="T63" fmla="*/ 74 h 320"/>
                  <a:gd name="T64" fmla="*/ 160 w 320"/>
                  <a:gd name="T65" fmla="*/ 21 h 320"/>
                  <a:gd name="T66" fmla="*/ 197 w 320"/>
                  <a:gd name="T67" fmla="*/ 96 h 320"/>
                  <a:gd name="T68" fmla="*/ 202 w 320"/>
                  <a:gd name="T69" fmla="*/ 149 h 320"/>
                  <a:gd name="T70" fmla="*/ 117 w 320"/>
                  <a:gd name="T71" fmla="*/ 149 h 320"/>
                  <a:gd name="T72" fmla="*/ 122 w 320"/>
                  <a:gd name="T73" fmla="*/ 96 h 320"/>
                  <a:gd name="T74" fmla="*/ 197 w 320"/>
                  <a:gd name="T75" fmla="*/ 96 h 320"/>
                  <a:gd name="T76" fmla="*/ 223 w 320"/>
                  <a:gd name="T77" fmla="*/ 149 h 320"/>
                  <a:gd name="T78" fmla="*/ 218 w 320"/>
                  <a:gd name="T79" fmla="*/ 96 h 320"/>
                  <a:gd name="T80" fmla="*/ 283 w 320"/>
                  <a:gd name="T81" fmla="*/ 96 h 320"/>
                  <a:gd name="T82" fmla="*/ 298 w 320"/>
                  <a:gd name="T83" fmla="*/ 149 h 320"/>
                  <a:gd name="T84" fmla="*/ 223 w 320"/>
                  <a:gd name="T85" fmla="*/ 149 h 320"/>
                  <a:gd name="T86" fmla="*/ 269 w 320"/>
                  <a:gd name="T87" fmla="*/ 74 h 320"/>
                  <a:gd name="T88" fmla="*/ 214 w 320"/>
                  <a:gd name="T89" fmla="*/ 74 h 320"/>
                  <a:gd name="T90" fmla="*/ 196 w 320"/>
                  <a:gd name="T91" fmla="*/ 26 h 320"/>
                  <a:gd name="T92" fmla="*/ 269 w 320"/>
                  <a:gd name="T93" fmla="*/ 74 h 320"/>
                  <a:gd name="T94" fmla="*/ 124 w 320"/>
                  <a:gd name="T95" fmla="*/ 26 h 320"/>
                  <a:gd name="T96" fmla="*/ 105 w 320"/>
                  <a:gd name="T97" fmla="*/ 74 h 320"/>
                  <a:gd name="T98" fmla="*/ 51 w 320"/>
                  <a:gd name="T99" fmla="*/ 74 h 320"/>
                  <a:gd name="T100" fmla="*/ 124 w 320"/>
                  <a:gd name="T101" fmla="*/ 26 h 320"/>
                  <a:gd name="T102" fmla="*/ 51 w 320"/>
                  <a:gd name="T103" fmla="*/ 245 h 320"/>
                  <a:gd name="T104" fmla="*/ 105 w 320"/>
                  <a:gd name="T105" fmla="*/ 245 h 320"/>
                  <a:gd name="T106" fmla="*/ 124 w 320"/>
                  <a:gd name="T107" fmla="*/ 293 h 320"/>
                  <a:gd name="T108" fmla="*/ 51 w 320"/>
                  <a:gd name="T109" fmla="*/ 245 h 320"/>
                  <a:gd name="T110" fmla="*/ 196 w 320"/>
                  <a:gd name="T111" fmla="*/ 293 h 320"/>
                  <a:gd name="T112" fmla="*/ 214 w 320"/>
                  <a:gd name="T113" fmla="*/ 245 h 320"/>
                  <a:gd name="T114" fmla="*/ 269 w 320"/>
                  <a:gd name="T115" fmla="*/ 245 h 320"/>
                  <a:gd name="T116" fmla="*/ 196 w 320"/>
                  <a:gd name="T117" fmla="*/ 293 h 3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320" h="320">
                    <a:moveTo>
                      <a:pt x="160" y="0"/>
                    </a:moveTo>
                    <a:cubicBezTo>
                      <a:pt x="71" y="0"/>
                      <a:pt x="0" y="71"/>
                      <a:pt x="0" y="160"/>
                    </a:cubicBezTo>
                    <a:cubicBezTo>
                      <a:pt x="0" y="248"/>
                      <a:pt x="71" y="320"/>
                      <a:pt x="160" y="320"/>
                    </a:cubicBezTo>
                    <a:cubicBezTo>
                      <a:pt x="248" y="320"/>
                      <a:pt x="320" y="248"/>
                      <a:pt x="320" y="160"/>
                    </a:cubicBezTo>
                    <a:cubicBezTo>
                      <a:pt x="320" y="71"/>
                      <a:pt x="248" y="0"/>
                      <a:pt x="160" y="0"/>
                    </a:cubicBezTo>
                    <a:close/>
                    <a:moveTo>
                      <a:pt x="283" y="224"/>
                    </a:moveTo>
                    <a:cubicBezTo>
                      <a:pt x="218" y="224"/>
                      <a:pt x="218" y="224"/>
                      <a:pt x="218" y="224"/>
                    </a:cubicBezTo>
                    <a:cubicBezTo>
                      <a:pt x="221" y="207"/>
                      <a:pt x="223" y="188"/>
                      <a:pt x="223" y="170"/>
                    </a:cubicBezTo>
                    <a:cubicBezTo>
                      <a:pt x="298" y="170"/>
                      <a:pt x="298" y="170"/>
                      <a:pt x="298" y="170"/>
                    </a:cubicBezTo>
                    <a:cubicBezTo>
                      <a:pt x="296" y="189"/>
                      <a:pt x="291" y="207"/>
                      <a:pt x="283" y="224"/>
                    </a:cubicBezTo>
                    <a:close/>
                    <a:moveTo>
                      <a:pt x="160" y="298"/>
                    </a:moveTo>
                    <a:cubicBezTo>
                      <a:pt x="149" y="298"/>
                      <a:pt x="136" y="279"/>
                      <a:pt x="127" y="245"/>
                    </a:cubicBezTo>
                    <a:cubicBezTo>
                      <a:pt x="192" y="245"/>
                      <a:pt x="192" y="245"/>
                      <a:pt x="192" y="245"/>
                    </a:cubicBezTo>
                    <a:cubicBezTo>
                      <a:pt x="183" y="279"/>
                      <a:pt x="170" y="298"/>
                      <a:pt x="160" y="298"/>
                    </a:cubicBezTo>
                    <a:close/>
                    <a:moveTo>
                      <a:pt x="122" y="224"/>
                    </a:moveTo>
                    <a:cubicBezTo>
                      <a:pt x="120" y="208"/>
                      <a:pt x="118" y="190"/>
                      <a:pt x="117" y="170"/>
                    </a:cubicBezTo>
                    <a:cubicBezTo>
                      <a:pt x="202" y="170"/>
                      <a:pt x="202" y="170"/>
                      <a:pt x="202" y="170"/>
                    </a:cubicBezTo>
                    <a:cubicBezTo>
                      <a:pt x="202" y="190"/>
                      <a:pt x="200" y="208"/>
                      <a:pt x="197" y="224"/>
                    </a:cubicBezTo>
                    <a:lnTo>
                      <a:pt x="122" y="224"/>
                    </a:lnTo>
                    <a:close/>
                    <a:moveTo>
                      <a:pt x="22" y="170"/>
                    </a:moveTo>
                    <a:cubicBezTo>
                      <a:pt x="96" y="170"/>
                      <a:pt x="96" y="170"/>
                      <a:pt x="96" y="170"/>
                    </a:cubicBezTo>
                    <a:cubicBezTo>
                      <a:pt x="96" y="188"/>
                      <a:pt x="98" y="207"/>
                      <a:pt x="101" y="224"/>
                    </a:cubicBezTo>
                    <a:cubicBezTo>
                      <a:pt x="37" y="224"/>
                      <a:pt x="37" y="224"/>
                      <a:pt x="37" y="224"/>
                    </a:cubicBezTo>
                    <a:cubicBezTo>
                      <a:pt x="28" y="207"/>
                      <a:pt x="23" y="189"/>
                      <a:pt x="22" y="170"/>
                    </a:cubicBezTo>
                    <a:close/>
                    <a:moveTo>
                      <a:pt x="37" y="96"/>
                    </a:moveTo>
                    <a:cubicBezTo>
                      <a:pt x="101" y="96"/>
                      <a:pt x="101" y="96"/>
                      <a:pt x="101" y="96"/>
                    </a:cubicBezTo>
                    <a:cubicBezTo>
                      <a:pt x="98" y="113"/>
                      <a:pt x="96" y="131"/>
                      <a:pt x="96" y="149"/>
                    </a:cubicBezTo>
                    <a:cubicBezTo>
                      <a:pt x="22" y="149"/>
                      <a:pt x="22" y="149"/>
                      <a:pt x="22" y="149"/>
                    </a:cubicBezTo>
                    <a:cubicBezTo>
                      <a:pt x="23" y="130"/>
                      <a:pt x="28" y="112"/>
                      <a:pt x="37" y="96"/>
                    </a:cubicBezTo>
                    <a:close/>
                    <a:moveTo>
                      <a:pt x="160" y="21"/>
                    </a:moveTo>
                    <a:cubicBezTo>
                      <a:pt x="170" y="21"/>
                      <a:pt x="183" y="41"/>
                      <a:pt x="192" y="74"/>
                    </a:cubicBezTo>
                    <a:cubicBezTo>
                      <a:pt x="127" y="74"/>
                      <a:pt x="127" y="74"/>
                      <a:pt x="127" y="74"/>
                    </a:cubicBezTo>
                    <a:cubicBezTo>
                      <a:pt x="136" y="41"/>
                      <a:pt x="149" y="21"/>
                      <a:pt x="160" y="21"/>
                    </a:cubicBezTo>
                    <a:close/>
                    <a:moveTo>
                      <a:pt x="197" y="96"/>
                    </a:moveTo>
                    <a:cubicBezTo>
                      <a:pt x="200" y="111"/>
                      <a:pt x="202" y="129"/>
                      <a:pt x="202" y="149"/>
                    </a:cubicBezTo>
                    <a:cubicBezTo>
                      <a:pt x="117" y="149"/>
                      <a:pt x="117" y="149"/>
                      <a:pt x="117" y="149"/>
                    </a:cubicBezTo>
                    <a:cubicBezTo>
                      <a:pt x="118" y="129"/>
                      <a:pt x="120" y="111"/>
                      <a:pt x="122" y="96"/>
                    </a:cubicBezTo>
                    <a:lnTo>
                      <a:pt x="197" y="96"/>
                    </a:lnTo>
                    <a:close/>
                    <a:moveTo>
                      <a:pt x="223" y="149"/>
                    </a:moveTo>
                    <a:cubicBezTo>
                      <a:pt x="223" y="131"/>
                      <a:pt x="221" y="113"/>
                      <a:pt x="218" y="96"/>
                    </a:cubicBezTo>
                    <a:cubicBezTo>
                      <a:pt x="283" y="96"/>
                      <a:pt x="283" y="96"/>
                      <a:pt x="283" y="96"/>
                    </a:cubicBezTo>
                    <a:cubicBezTo>
                      <a:pt x="291" y="112"/>
                      <a:pt x="296" y="130"/>
                      <a:pt x="298" y="149"/>
                    </a:cubicBezTo>
                    <a:lnTo>
                      <a:pt x="223" y="149"/>
                    </a:lnTo>
                    <a:close/>
                    <a:moveTo>
                      <a:pt x="269" y="74"/>
                    </a:moveTo>
                    <a:cubicBezTo>
                      <a:pt x="214" y="74"/>
                      <a:pt x="214" y="74"/>
                      <a:pt x="214" y="74"/>
                    </a:cubicBezTo>
                    <a:cubicBezTo>
                      <a:pt x="210" y="55"/>
                      <a:pt x="203" y="39"/>
                      <a:pt x="196" y="26"/>
                    </a:cubicBezTo>
                    <a:cubicBezTo>
                      <a:pt x="225" y="34"/>
                      <a:pt x="251" y="51"/>
                      <a:pt x="269" y="74"/>
                    </a:cubicBezTo>
                    <a:close/>
                    <a:moveTo>
                      <a:pt x="124" y="26"/>
                    </a:moveTo>
                    <a:cubicBezTo>
                      <a:pt x="116" y="39"/>
                      <a:pt x="110" y="55"/>
                      <a:pt x="105" y="74"/>
                    </a:cubicBezTo>
                    <a:cubicBezTo>
                      <a:pt x="51" y="74"/>
                      <a:pt x="51" y="74"/>
                      <a:pt x="51" y="74"/>
                    </a:cubicBezTo>
                    <a:cubicBezTo>
                      <a:pt x="69" y="51"/>
                      <a:pt x="94" y="34"/>
                      <a:pt x="124" y="26"/>
                    </a:cubicBezTo>
                    <a:close/>
                    <a:moveTo>
                      <a:pt x="51" y="245"/>
                    </a:moveTo>
                    <a:cubicBezTo>
                      <a:pt x="105" y="245"/>
                      <a:pt x="105" y="245"/>
                      <a:pt x="105" y="245"/>
                    </a:cubicBezTo>
                    <a:cubicBezTo>
                      <a:pt x="110" y="264"/>
                      <a:pt x="116" y="281"/>
                      <a:pt x="124" y="293"/>
                    </a:cubicBezTo>
                    <a:cubicBezTo>
                      <a:pt x="94" y="285"/>
                      <a:pt x="69" y="268"/>
                      <a:pt x="51" y="245"/>
                    </a:cubicBezTo>
                    <a:close/>
                    <a:moveTo>
                      <a:pt x="196" y="293"/>
                    </a:moveTo>
                    <a:cubicBezTo>
                      <a:pt x="203" y="281"/>
                      <a:pt x="210" y="264"/>
                      <a:pt x="214" y="245"/>
                    </a:cubicBezTo>
                    <a:cubicBezTo>
                      <a:pt x="269" y="245"/>
                      <a:pt x="269" y="245"/>
                      <a:pt x="269" y="245"/>
                    </a:cubicBezTo>
                    <a:cubicBezTo>
                      <a:pt x="251" y="268"/>
                      <a:pt x="225" y="285"/>
                      <a:pt x="196" y="29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" name="Freeform 55">
                <a:extLst>
                  <a:ext uri="{FF2B5EF4-FFF2-40B4-BE49-F238E27FC236}">
                    <a16:creationId xmlns:a16="http://schemas.microsoft.com/office/drawing/2014/main" id="{C6023F7A-281F-C844-BA27-C60AACC50B4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83" y="1046"/>
                <a:ext cx="340" cy="341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A6030B49-ABBA-714D-8A34-EC40E7E014FC}"/>
                </a:ext>
              </a:extLst>
            </p:cNvPr>
            <p:cNvGrpSpPr/>
            <p:nvPr/>
          </p:nvGrpSpPr>
          <p:grpSpPr>
            <a:xfrm>
              <a:off x="11116624" y="173688"/>
              <a:ext cx="365760" cy="365760"/>
              <a:chOff x="6806797" y="2076826"/>
              <a:chExt cx="685804" cy="685804"/>
            </a:xfrm>
            <a:solidFill>
              <a:schemeClr val="bg1">
                <a:lumMod val="75000"/>
              </a:schemeClr>
            </a:solidFill>
          </p:grpSpPr>
          <p:sp>
            <p:nvSpPr>
              <p:cNvPr id="15" name="Freeform 623">
                <a:extLst>
                  <a:ext uri="{FF2B5EF4-FFF2-40B4-BE49-F238E27FC236}">
                    <a16:creationId xmlns:a16="http://schemas.microsoft.com/office/drawing/2014/main" id="{A4FD5118-54E1-AB45-A285-8EC74B0C2A0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06797" y="2076826"/>
                <a:ext cx="685804" cy="685804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pic>
            <p:nvPicPr>
              <p:cNvPr id="16" name="Graphic 15" descr="Target">
                <a:extLst>
                  <a:ext uri="{FF2B5EF4-FFF2-40B4-BE49-F238E27FC236}">
                    <a16:creationId xmlns:a16="http://schemas.microsoft.com/office/drawing/2014/main" id="{F49CF584-F4A5-1646-8AF3-B500F507B81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6852519" y="2122548"/>
                <a:ext cx="594360" cy="594360"/>
              </a:xfrm>
              <a:prstGeom prst="rect">
                <a:avLst/>
              </a:prstGeom>
            </p:spPr>
          </p:pic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7F71AAC5-B834-D242-BB6F-8A482CE61E94}"/>
                </a:ext>
              </a:extLst>
            </p:cNvPr>
            <p:cNvGrpSpPr/>
            <p:nvPr/>
          </p:nvGrpSpPr>
          <p:grpSpPr>
            <a:xfrm>
              <a:off x="11538918" y="173688"/>
              <a:ext cx="365760" cy="365760"/>
              <a:chOff x="6806753" y="3091011"/>
              <a:chExt cx="685800" cy="685800"/>
            </a:xfrm>
            <a:solidFill>
              <a:schemeClr val="bg1">
                <a:lumMod val="75000"/>
              </a:schemeClr>
            </a:solidFill>
          </p:grpSpPr>
          <p:sp>
            <p:nvSpPr>
              <p:cNvPr id="13" name="Freeform 727">
                <a:extLst>
                  <a:ext uri="{FF2B5EF4-FFF2-40B4-BE49-F238E27FC236}">
                    <a16:creationId xmlns:a16="http://schemas.microsoft.com/office/drawing/2014/main" id="{EB066332-9C45-C14B-878C-C484243F361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06753" y="3091011"/>
                <a:ext cx="685800" cy="685800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pic>
            <p:nvPicPr>
              <p:cNvPr id="14" name="Graphic 13" descr="Head with gears">
                <a:extLst>
                  <a:ext uri="{FF2B5EF4-FFF2-40B4-BE49-F238E27FC236}">
                    <a16:creationId xmlns:a16="http://schemas.microsoft.com/office/drawing/2014/main" id="{4B6CB2A0-BC97-DA40-A5FE-F028EA0A512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6932592" y="3216850"/>
                <a:ext cx="434123" cy="434123"/>
              </a:xfrm>
              <a:prstGeom prst="rect">
                <a:avLst/>
              </a:prstGeom>
            </p:spPr>
          </p:pic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BF1345B2-7AD3-6A47-B893-68DE43D819F9}"/>
                </a:ext>
              </a:extLst>
            </p:cNvPr>
            <p:cNvGrpSpPr/>
            <p:nvPr/>
          </p:nvGrpSpPr>
          <p:grpSpPr>
            <a:xfrm>
              <a:off x="10694331" y="173688"/>
              <a:ext cx="365760" cy="365760"/>
              <a:chOff x="6806753" y="2142199"/>
              <a:chExt cx="685804" cy="685804"/>
            </a:xfrm>
          </p:grpSpPr>
          <p:sp>
            <p:nvSpPr>
              <p:cNvPr id="11" name="Freeform 623">
                <a:extLst>
                  <a:ext uri="{FF2B5EF4-FFF2-40B4-BE49-F238E27FC236}">
                    <a16:creationId xmlns:a16="http://schemas.microsoft.com/office/drawing/2014/main" id="{15FD7F61-1750-854A-9E62-FE580DC1D5E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06753" y="2142199"/>
                <a:ext cx="685804" cy="685804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solidFill>
                <a:srgbClr val="36B9EE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pic>
            <p:nvPicPr>
              <p:cNvPr id="12" name="Graphic 11" descr="Badge Tick outline">
                <a:extLst>
                  <a:ext uri="{FF2B5EF4-FFF2-40B4-BE49-F238E27FC236}">
                    <a16:creationId xmlns:a16="http://schemas.microsoft.com/office/drawing/2014/main" id="{32933E97-681E-AD44-99AA-4FDAFC6D4F0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6834429" y="2170883"/>
                <a:ext cx="628436" cy="628436"/>
              </a:xfrm>
              <a:prstGeom prst="rect">
                <a:avLst/>
              </a:prstGeom>
            </p:spPr>
          </p:pic>
        </p:grpSp>
      </p:grpSp>
      <p:sp>
        <p:nvSpPr>
          <p:cNvPr id="23" name="Content Placeholder 1">
            <a:extLst>
              <a:ext uri="{FF2B5EF4-FFF2-40B4-BE49-F238E27FC236}">
                <a16:creationId xmlns:a16="http://schemas.microsoft.com/office/drawing/2014/main" id="{BEE15851-939A-1A44-A774-AF03855559D8}"/>
              </a:ext>
            </a:extLst>
          </p:cNvPr>
          <p:cNvSpPr txBox="1">
            <a:spLocks/>
          </p:cNvSpPr>
          <p:nvPr/>
        </p:nvSpPr>
        <p:spPr>
          <a:xfrm>
            <a:off x="464998" y="1676400"/>
            <a:ext cx="2397946" cy="4705351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 spc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spc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spc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spc="0" baseline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spc="0" baseline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Once you replace the mock data with INTERIMD_DATA_2 (Primary Data Source), you will be prompted to connect to your Snowflake account through a pop -up panel</a:t>
            </a:r>
            <a:br>
              <a:rPr lang="en-US" dirty="0">
                <a:sym typeface="Wingdings" pitchFamily="2" charset="2"/>
              </a:rPr>
            </a:b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BF9A7E20-C5DD-2A4A-9E70-AA50A0E9B7BA}"/>
              </a:ext>
            </a:extLst>
          </p:cNvPr>
          <p:cNvSpPr txBox="1">
            <a:spLocks/>
          </p:cNvSpPr>
          <p:nvPr/>
        </p:nvSpPr>
        <p:spPr>
          <a:xfrm>
            <a:off x="469900" y="1127760"/>
            <a:ext cx="2393043" cy="548640"/>
          </a:xfrm>
          <a:prstGeom prst="rect">
            <a:avLst/>
          </a:prstGeom>
          <a:solidFill>
            <a:srgbClr val="7ACAEE"/>
          </a:solidFill>
        </p:spPr>
        <p:txBody>
          <a:bodyPr anchor="ctr"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 spc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spc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spc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spc="0" baseline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spc="0" baseline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/>
              <a:t>Log Into Snowflake</a:t>
            </a:r>
          </a:p>
        </p:txBody>
      </p:sp>
      <p:pic>
        <p:nvPicPr>
          <p:cNvPr id="25" name="Picture 24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E288BE98-5194-8C48-9412-47720FA4E50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096998" y="1145227"/>
            <a:ext cx="2884702" cy="3937413"/>
          </a:xfrm>
          <a:prstGeom prst="rect">
            <a:avLst/>
          </a:prstGeom>
        </p:spPr>
      </p:pic>
      <p:graphicFrame>
        <p:nvGraphicFramePr>
          <p:cNvPr id="47" name="Table 47">
            <a:extLst>
              <a:ext uri="{FF2B5EF4-FFF2-40B4-BE49-F238E27FC236}">
                <a16:creationId xmlns:a16="http://schemas.microsoft.com/office/drawing/2014/main" id="{0684DDC0-E9A2-FA41-9AC3-1734F382562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3378217"/>
              </p:ext>
            </p:extLst>
          </p:nvPr>
        </p:nvGraphicFramePr>
        <p:xfrm>
          <a:off x="6522720" y="3430984"/>
          <a:ext cx="4618289" cy="2820023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757014">
                  <a:extLst>
                    <a:ext uri="{9D8B030D-6E8A-4147-A177-3AD203B41FA5}">
                      <a16:colId xmlns:a16="http://schemas.microsoft.com/office/drawing/2014/main" val="3736331548"/>
                    </a:ext>
                  </a:extLst>
                </a:gridCol>
                <a:gridCol w="2861275">
                  <a:extLst>
                    <a:ext uri="{9D8B030D-6E8A-4147-A177-3AD203B41FA5}">
                      <a16:colId xmlns:a16="http://schemas.microsoft.com/office/drawing/2014/main" val="858071149"/>
                    </a:ext>
                  </a:extLst>
                </a:gridCol>
              </a:tblGrid>
              <a:tr h="470456">
                <a:tc gridSpan="2"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Data Sources and Functions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Three built in data sources</a:t>
                      </a:r>
                    </a:p>
                  </a:txBody>
                  <a:tcPr marL="137160" marR="137160" marT="137160" marB="137160" anchor="ctr">
                    <a:lnL w="28575" cap="flat" cmpd="sng" algn="ctr">
                      <a:solidFill>
                        <a:srgbClr val="182044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182044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182044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8204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6350" cap="flat" cmpd="sng" algn="ctr">
                      <a:solidFill>
                        <a:srgbClr val="18204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8204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8204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8204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98580005"/>
                  </a:ext>
                </a:extLst>
              </a:tr>
              <a:tr h="610223">
                <a:tc>
                  <a:txBody>
                    <a:bodyPr/>
                    <a:lstStyle/>
                    <a:p>
                      <a:r>
                        <a:rPr lang="en-US" sz="1100" b="1" i="0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AI360_mockdata</a:t>
                      </a:r>
                    </a:p>
                  </a:txBody>
                  <a:tcPr marL="137160" marR="137160" marT="137160" marB="137160" anchor="ctr">
                    <a:lnL w="28575" cap="flat" cmpd="sng" algn="ctr">
                      <a:solidFill>
                        <a:srgbClr val="182044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8204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8204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8204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b="0" i="0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Local </a:t>
                      </a:r>
                      <a:r>
                        <a:rPr lang="en-US" sz="1100" b="0" i="0" dirty="0" err="1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cvs</a:t>
                      </a:r>
                      <a:r>
                        <a:rPr lang="en-US" sz="1100" b="0" i="0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data file packaged with notebook. Default data source</a:t>
                      </a:r>
                    </a:p>
                  </a:txBody>
                  <a:tcPr marL="137160" marR="137160" marT="137160" marB="137160" anchor="ctr">
                    <a:lnL w="6350" cap="flat" cmpd="sng" algn="ctr">
                      <a:solidFill>
                        <a:srgbClr val="18204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182044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8204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8204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61861304"/>
                  </a:ext>
                </a:extLst>
              </a:tr>
              <a:tr h="675851">
                <a:tc>
                  <a:txBody>
                    <a:bodyPr/>
                    <a:lstStyle/>
                    <a:p>
                      <a:pPr marL="0" marR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INTERMIM_DATA_2 (Primary Data Source)</a:t>
                      </a:r>
                    </a:p>
                  </a:txBody>
                  <a:tcPr marL="137160" marR="137160" marT="137160" marB="137160" anchor="ctr">
                    <a:lnL w="28575" cap="flat" cmpd="sng" algn="ctr">
                      <a:solidFill>
                        <a:srgbClr val="182044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8204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8204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8204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b="0" i="0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Snowflake connected live data source. Requires account log-in.</a:t>
                      </a:r>
                    </a:p>
                  </a:txBody>
                  <a:tcPr marL="137160" marR="137160" marT="137160" marB="137160" anchor="ctr">
                    <a:lnL w="6350" cap="flat" cmpd="sng" algn="ctr">
                      <a:solidFill>
                        <a:srgbClr val="18204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182044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8204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8204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5907804"/>
                  </a:ext>
                </a:extLst>
              </a:tr>
              <a:tr h="610223">
                <a:tc>
                  <a:txBody>
                    <a:bodyPr/>
                    <a:lstStyle/>
                    <a:p>
                      <a:r>
                        <a:rPr lang="en-US" sz="1100" b="1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Wingdings" pitchFamily="2" charset="2"/>
                        </a:rPr>
                        <a:t>AI Readiness </a:t>
                      </a:r>
                      <a:r>
                        <a:rPr lang="en-US" sz="1100" b="1" dirty="0" err="1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Wingdings" pitchFamily="2" charset="2"/>
                        </a:rPr>
                        <a:t>Text_Pillar</a:t>
                      </a:r>
                      <a:r>
                        <a:rPr lang="en-US" sz="1100" b="1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Wingdings" pitchFamily="2" charset="2"/>
                        </a:rPr>
                        <a:t> (Text Excel File)</a:t>
                      </a:r>
                      <a:endParaRPr lang="en-US" sz="1100" b="1" i="0" dirty="0"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137160" marR="137160" marT="137160" marB="137160" anchor="ctr">
                    <a:lnL w="28575" cap="flat" cmpd="sng" algn="ctr">
                      <a:solidFill>
                        <a:srgbClr val="182044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8204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8204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182044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b="0" i="0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Local Excel text data file packaged with notebook containing description of the pillars and readiness tier.</a:t>
                      </a:r>
                    </a:p>
                  </a:txBody>
                  <a:tcPr marL="137160" marR="137160" marT="137160" marB="137160" anchor="ctr">
                    <a:lnL w="6350" cap="flat" cmpd="sng" algn="ctr">
                      <a:solidFill>
                        <a:srgbClr val="18204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182044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8204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182044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81897664"/>
                  </a:ext>
                </a:extLst>
              </a:tr>
            </a:tbl>
          </a:graphicData>
        </a:graphic>
      </p:graphicFrame>
      <p:pic>
        <p:nvPicPr>
          <p:cNvPr id="54" name="Picture 53" descr="Graphical user interface, table&#10;&#10;Description automatically generated">
            <a:extLst>
              <a:ext uri="{FF2B5EF4-FFF2-40B4-BE49-F238E27FC236}">
                <a16:creationId xmlns:a16="http://schemas.microsoft.com/office/drawing/2014/main" id="{5EF0598E-27DA-7540-9366-9762BD533A6A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1" t="11546" r="42298" b="56305"/>
          <a:stretch/>
        </p:blipFill>
        <p:spPr>
          <a:xfrm>
            <a:off x="6522720" y="1115315"/>
            <a:ext cx="4618289" cy="1799083"/>
          </a:xfrm>
          <a:prstGeom prst="rect">
            <a:avLst/>
          </a:prstGeom>
          <a:ln>
            <a:solidFill>
              <a:schemeClr val="bg2"/>
            </a:solidFill>
          </a:ln>
        </p:spPr>
      </p:pic>
      <p:sp>
        <p:nvSpPr>
          <p:cNvPr id="55" name="TextBox 54">
            <a:extLst>
              <a:ext uri="{FF2B5EF4-FFF2-40B4-BE49-F238E27FC236}">
                <a16:creationId xmlns:a16="http://schemas.microsoft.com/office/drawing/2014/main" id="{4DC471C2-B9E0-8F4E-AE5A-CC2B7EB97864}"/>
              </a:ext>
            </a:extLst>
          </p:cNvPr>
          <p:cNvSpPr txBox="1"/>
          <p:nvPr/>
        </p:nvSpPr>
        <p:spPr>
          <a:xfrm>
            <a:off x="6522720" y="2914398"/>
            <a:ext cx="4618289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1000" dirty="0">
                <a:solidFill>
                  <a:srgbClr val="31313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ata source for a sheet should have a blue check mark o “INTERIM_DATA_2 (Primary Data Source)” when connected to Snowflake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4909F879-CE0F-3F4A-AAE7-E3B32562874B}"/>
              </a:ext>
            </a:extLst>
          </p:cNvPr>
          <p:cNvSpPr txBox="1"/>
          <p:nvPr/>
        </p:nvSpPr>
        <p:spPr>
          <a:xfrm>
            <a:off x="3096999" y="5082640"/>
            <a:ext cx="288470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1000" dirty="0">
                <a:solidFill>
                  <a:srgbClr val="31313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og in pop-up panel for Snowflake connection.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9A262146-119C-9C4C-952D-FE2C6DB07E25}"/>
              </a:ext>
            </a:extLst>
          </p:cNvPr>
          <p:cNvSpPr txBox="1"/>
          <p:nvPr/>
        </p:nvSpPr>
        <p:spPr>
          <a:xfrm>
            <a:off x="8802231" y="298135"/>
            <a:ext cx="1312860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200" b="1" dirty="0">
                <a:solidFill>
                  <a:srgbClr val="C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RITICAL ACTION</a:t>
            </a:r>
          </a:p>
        </p:txBody>
      </p:sp>
    </p:spTree>
    <p:extLst>
      <p:ext uri="{BB962C8B-B14F-4D97-AF65-F5344CB8AC3E}">
        <p14:creationId xmlns:p14="http://schemas.microsoft.com/office/powerpoint/2010/main" val="2485876056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7016D6-71EF-470F-BD75-3B45D1854D43}"/>
              </a:ext>
            </a:extLst>
          </p:cNvPr>
          <p:cNvSpPr/>
          <p:nvPr/>
        </p:nvSpPr>
        <p:spPr>
          <a:xfrm>
            <a:off x="0" y="-1"/>
            <a:ext cx="12192000" cy="6857999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Open Sans" panose="020B0606030504020204" pitchFamily="34" charset="0"/>
            </a:endParaRPr>
          </a:p>
        </p:txBody>
      </p:sp>
      <p:pic>
        <p:nvPicPr>
          <p:cNvPr id="6" name="Picture Placeholder 5" descr="A picture containing web&#10;&#10;Description automatically generated">
            <a:extLst>
              <a:ext uri="{FF2B5EF4-FFF2-40B4-BE49-F238E27FC236}">
                <a16:creationId xmlns:a16="http://schemas.microsoft.com/office/drawing/2014/main" id="{1C83148D-F3C0-43CB-8419-C4A77366E9E2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3">
            <a:duotone>
              <a:prstClr val="black"/>
              <a:srgbClr val="13A2DE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51" t="2549" r="11250" b="2549"/>
          <a:stretch/>
        </p:blipFill>
        <p:spPr>
          <a:xfrm>
            <a:off x="2769337" y="641875"/>
            <a:ext cx="8819768" cy="5574246"/>
          </a:xfrm>
        </p:spPr>
      </p:pic>
      <p:sp>
        <p:nvSpPr>
          <p:cNvPr id="16" name="Title 3">
            <a:extLst>
              <a:ext uri="{FF2B5EF4-FFF2-40B4-BE49-F238E27FC236}">
                <a16:creationId xmlns:a16="http://schemas.microsoft.com/office/drawing/2014/main" id="{71CC6877-37EB-4319-8B4B-BF7B394326C8}"/>
              </a:ext>
            </a:extLst>
          </p:cNvPr>
          <p:cNvSpPr txBox="1">
            <a:spLocks/>
          </p:cNvSpPr>
          <p:nvPr/>
        </p:nvSpPr>
        <p:spPr>
          <a:xfrm>
            <a:off x="921933" y="4614787"/>
            <a:ext cx="4687757" cy="897983"/>
          </a:xfrm>
          <a:prstGeom prst="rect">
            <a:avLst/>
          </a:prstGeom>
        </p:spPr>
        <p:txBody>
          <a:bodyPr vert="horz" lIns="0" tIns="45720" rIns="91440" bIns="0" rtlCol="0" anchor="b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800" b="1" i="0" kern="1200" cap="none" spc="-100" baseline="0">
                <a:solidFill>
                  <a:schemeClr val="tx1"/>
                </a:solidFill>
                <a:latin typeface="+mn-lt"/>
                <a:ea typeface="Bebas Neue" charset="0"/>
                <a:cs typeface="Chronicle Display Black"/>
              </a:defRPr>
            </a:lvl1pPr>
          </a:lstStyle>
          <a:p>
            <a:r>
              <a:rPr lang="en-US" sz="3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ableau </a:t>
            </a:r>
            <a:br>
              <a:rPr lang="en-US" sz="3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en-US" sz="3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evelopment</a:t>
            </a:r>
          </a:p>
          <a:p>
            <a:endParaRPr lang="en-US" sz="16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r>
              <a:rPr lang="en-US" sz="3200" i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ilters</a:t>
            </a:r>
          </a:p>
        </p:txBody>
      </p:sp>
    </p:spTree>
    <p:extLst>
      <p:ext uri="{BB962C8B-B14F-4D97-AF65-F5344CB8AC3E}">
        <p14:creationId xmlns:p14="http://schemas.microsoft.com/office/powerpoint/2010/main" val="543532023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5DAED6B1-6292-6247-980F-02C1909970F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9900" y="736689"/>
            <a:ext cx="11252200" cy="283090"/>
          </a:xfrm>
        </p:spPr>
        <p:txBody>
          <a:bodyPr/>
          <a:lstStyle/>
          <a:p>
            <a:r>
              <a:rPr lang="en-US" sz="1200" dirty="0"/>
              <a:t>Using Tableau’s group function to edit organization name data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3EC109-DCC4-D84A-96DD-9E1DD06C1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3564"/>
          </a:xfrm>
        </p:spPr>
        <p:txBody>
          <a:bodyPr/>
          <a:lstStyle/>
          <a:p>
            <a:r>
              <a:rPr lang="en-US" b="1" spc="0" dirty="0"/>
              <a:t>Filters | </a:t>
            </a:r>
            <a:r>
              <a:rPr lang="en-US" spc="0" dirty="0"/>
              <a:t>Organizations Names</a:t>
            </a:r>
            <a:endParaRPr lang="en-US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E6DFAAE-C9C6-9D46-B795-9BC79C578A16}"/>
              </a:ext>
            </a:extLst>
          </p:cNvPr>
          <p:cNvGrpSpPr/>
          <p:nvPr/>
        </p:nvGrpSpPr>
        <p:grpSpPr>
          <a:xfrm>
            <a:off x="10272038" y="173150"/>
            <a:ext cx="1632640" cy="366837"/>
            <a:chOff x="10272038" y="173150"/>
            <a:chExt cx="1632640" cy="366837"/>
          </a:xfrm>
        </p:grpSpPr>
        <p:grpSp>
          <p:nvGrpSpPr>
            <p:cNvPr id="7" name="Group 53">
              <a:extLst>
                <a:ext uri="{FF2B5EF4-FFF2-40B4-BE49-F238E27FC236}">
                  <a16:creationId xmlns:a16="http://schemas.microsoft.com/office/drawing/2014/main" id="{6C2C28C1-636A-1340-B840-A66A9F1DF6AB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0272038" y="173150"/>
              <a:ext cx="365760" cy="366837"/>
              <a:chOff x="5183" y="1046"/>
              <a:chExt cx="340" cy="341"/>
            </a:xfrm>
            <a:solidFill>
              <a:schemeClr val="bg1">
                <a:lumMod val="75000"/>
              </a:schemeClr>
            </a:solidFill>
          </p:grpSpPr>
          <p:sp>
            <p:nvSpPr>
              <p:cNvPr id="17" name="Freeform 54">
                <a:extLst>
                  <a:ext uri="{FF2B5EF4-FFF2-40B4-BE49-F238E27FC236}">
                    <a16:creationId xmlns:a16="http://schemas.microsoft.com/office/drawing/2014/main" id="{B3E3306A-20E7-4246-B14C-099787069D1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47" y="1110"/>
                <a:ext cx="212" cy="213"/>
              </a:xfrm>
              <a:custGeom>
                <a:avLst/>
                <a:gdLst>
                  <a:gd name="T0" fmla="*/ 160 w 320"/>
                  <a:gd name="T1" fmla="*/ 0 h 320"/>
                  <a:gd name="T2" fmla="*/ 0 w 320"/>
                  <a:gd name="T3" fmla="*/ 160 h 320"/>
                  <a:gd name="T4" fmla="*/ 160 w 320"/>
                  <a:gd name="T5" fmla="*/ 320 h 320"/>
                  <a:gd name="T6" fmla="*/ 320 w 320"/>
                  <a:gd name="T7" fmla="*/ 160 h 320"/>
                  <a:gd name="T8" fmla="*/ 160 w 320"/>
                  <a:gd name="T9" fmla="*/ 0 h 320"/>
                  <a:gd name="T10" fmla="*/ 283 w 320"/>
                  <a:gd name="T11" fmla="*/ 224 h 320"/>
                  <a:gd name="T12" fmla="*/ 218 w 320"/>
                  <a:gd name="T13" fmla="*/ 224 h 320"/>
                  <a:gd name="T14" fmla="*/ 223 w 320"/>
                  <a:gd name="T15" fmla="*/ 170 h 320"/>
                  <a:gd name="T16" fmla="*/ 298 w 320"/>
                  <a:gd name="T17" fmla="*/ 170 h 320"/>
                  <a:gd name="T18" fmla="*/ 283 w 320"/>
                  <a:gd name="T19" fmla="*/ 224 h 320"/>
                  <a:gd name="T20" fmla="*/ 160 w 320"/>
                  <a:gd name="T21" fmla="*/ 298 h 320"/>
                  <a:gd name="T22" fmla="*/ 127 w 320"/>
                  <a:gd name="T23" fmla="*/ 245 h 320"/>
                  <a:gd name="T24" fmla="*/ 192 w 320"/>
                  <a:gd name="T25" fmla="*/ 245 h 320"/>
                  <a:gd name="T26" fmla="*/ 160 w 320"/>
                  <a:gd name="T27" fmla="*/ 298 h 320"/>
                  <a:gd name="T28" fmla="*/ 122 w 320"/>
                  <a:gd name="T29" fmla="*/ 224 h 320"/>
                  <a:gd name="T30" fmla="*/ 117 w 320"/>
                  <a:gd name="T31" fmla="*/ 170 h 320"/>
                  <a:gd name="T32" fmla="*/ 202 w 320"/>
                  <a:gd name="T33" fmla="*/ 170 h 320"/>
                  <a:gd name="T34" fmla="*/ 197 w 320"/>
                  <a:gd name="T35" fmla="*/ 224 h 320"/>
                  <a:gd name="T36" fmla="*/ 122 w 320"/>
                  <a:gd name="T37" fmla="*/ 224 h 320"/>
                  <a:gd name="T38" fmla="*/ 22 w 320"/>
                  <a:gd name="T39" fmla="*/ 170 h 320"/>
                  <a:gd name="T40" fmla="*/ 96 w 320"/>
                  <a:gd name="T41" fmla="*/ 170 h 320"/>
                  <a:gd name="T42" fmla="*/ 101 w 320"/>
                  <a:gd name="T43" fmla="*/ 224 h 320"/>
                  <a:gd name="T44" fmla="*/ 37 w 320"/>
                  <a:gd name="T45" fmla="*/ 224 h 320"/>
                  <a:gd name="T46" fmla="*/ 22 w 320"/>
                  <a:gd name="T47" fmla="*/ 170 h 320"/>
                  <a:gd name="T48" fmla="*/ 37 w 320"/>
                  <a:gd name="T49" fmla="*/ 96 h 320"/>
                  <a:gd name="T50" fmla="*/ 101 w 320"/>
                  <a:gd name="T51" fmla="*/ 96 h 320"/>
                  <a:gd name="T52" fmla="*/ 96 w 320"/>
                  <a:gd name="T53" fmla="*/ 149 h 320"/>
                  <a:gd name="T54" fmla="*/ 22 w 320"/>
                  <a:gd name="T55" fmla="*/ 149 h 320"/>
                  <a:gd name="T56" fmla="*/ 37 w 320"/>
                  <a:gd name="T57" fmla="*/ 96 h 320"/>
                  <a:gd name="T58" fmla="*/ 160 w 320"/>
                  <a:gd name="T59" fmla="*/ 21 h 320"/>
                  <a:gd name="T60" fmla="*/ 192 w 320"/>
                  <a:gd name="T61" fmla="*/ 74 h 320"/>
                  <a:gd name="T62" fmla="*/ 127 w 320"/>
                  <a:gd name="T63" fmla="*/ 74 h 320"/>
                  <a:gd name="T64" fmla="*/ 160 w 320"/>
                  <a:gd name="T65" fmla="*/ 21 h 320"/>
                  <a:gd name="T66" fmla="*/ 197 w 320"/>
                  <a:gd name="T67" fmla="*/ 96 h 320"/>
                  <a:gd name="T68" fmla="*/ 202 w 320"/>
                  <a:gd name="T69" fmla="*/ 149 h 320"/>
                  <a:gd name="T70" fmla="*/ 117 w 320"/>
                  <a:gd name="T71" fmla="*/ 149 h 320"/>
                  <a:gd name="T72" fmla="*/ 122 w 320"/>
                  <a:gd name="T73" fmla="*/ 96 h 320"/>
                  <a:gd name="T74" fmla="*/ 197 w 320"/>
                  <a:gd name="T75" fmla="*/ 96 h 320"/>
                  <a:gd name="T76" fmla="*/ 223 w 320"/>
                  <a:gd name="T77" fmla="*/ 149 h 320"/>
                  <a:gd name="T78" fmla="*/ 218 w 320"/>
                  <a:gd name="T79" fmla="*/ 96 h 320"/>
                  <a:gd name="T80" fmla="*/ 283 w 320"/>
                  <a:gd name="T81" fmla="*/ 96 h 320"/>
                  <a:gd name="T82" fmla="*/ 298 w 320"/>
                  <a:gd name="T83" fmla="*/ 149 h 320"/>
                  <a:gd name="T84" fmla="*/ 223 w 320"/>
                  <a:gd name="T85" fmla="*/ 149 h 320"/>
                  <a:gd name="T86" fmla="*/ 269 w 320"/>
                  <a:gd name="T87" fmla="*/ 74 h 320"/>
                  <a:gd name="T88" fmla="*/ 214 w 320"/>
                  <a:gd name="T89" fmla="*/ 74 h 320"/>
                  <a:gd name="T90" fmla="*/ 196 w 320"/>
                  <a:gd name="T91" fmla="*/ 26 h 320"/>
                  <a:gd name="T92" fmla="*/ 269 w 320"/>
                  <a:gd name="T93" fmla="*/ 74 h 320"/>
                  <a:gd name="T94" fmla="*/ 124 w 320"/>
                  <a:gd name="T95" fmla="*/ 26 h 320"/>
                  <a:gd name="T96" fmla="*/ 105 w 320"/>
                  <a:gd name="T97" fmla="*/ 74 h 320"/>
                  <a:gd name="T98" fmla="*/ 51 w 320"/>
                  <a:gd name="T99" fmla="*/ 74 h 320"/>
                  <a:gd name="T100" fmla="*/ 124 w 320"/>
                  <a:gd name="T101" fmla="*/ 26 h 320"/>
                  <a:gd name="T102" fmla="*/ 51 w 320"/>
                  <a:gd name="T103" fmla="*/ 245 h 320"/>
                  <a:gd name="T104" fmla="*/ 105 w 320"/>
                  <a:gd name="T105" fmla="*/ 245 h 320"/>
                  <a:gd name="T106" fmla="*/ 124 w 320"/>
                  <a:gd name="T107" fmla="*/ 293 h 320"/>
                  <a:gd name="T108" fmla="*/ 51 w 320"/>
                  <a:gd name="T109" fmla="*/ 245 h 320"/>
                  <a:gd name="T110" fmla="*/ 196 w 320"/>
                  <a:gd name="T111" fmla="*/ 293 h 320"/>
                  <a:gd name="T112" fmla="*/ 214 w 320"/>
                  <a:gd name="T113" fmla="*/ 245 h 320"/>
                  <a:gd name="T114" fmla="*/ 269 w 320"/>
                  <a:gd name="T115" fmla="*/ 245 h 320"/>
                  <a:gd name="T116" fmla="*/ 196 w 320"/>
                  <a:gd name="T117" fmla="*/ 293 h 3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320" h="320">
                    <a:moveTo>
                      <a:pt x="160" y="0"/>
                    </a:moveTo>
                    <a:cubicBezTo>
                      <a:pt x="71" y="0"/>
                      <a:pt x="0" y="71"/>
                      <a:pt x="0" y="160"/>
                    </a:cubicBezTo>
                    <a:cubicBezTo>
                      <a:pt x="0" y="248"/>
                      <a:pt x="71" y="320"/>
                      <a:pt x="160" y="320"/>
                    </a:cubicBezTo>
                    <a:cubicBezTo>
                      <a:pt x="248" y="320"/>
                      <a:pt x="320" y="248"/>
                      <a:pt x="320" y="160"/>
                    </a:cubicBezTo>
                    <a:cubicBezTo>
                      <a:pt x="320" y="71"/>
                      <a:pt x="248" y="0"/>
                      <a:pt x="160" y="0"/>
                    </a:cubicBezTo>
                    <a:close/>
                    <a:moveTo>
                      <a:pt x="283" y="224"/>
                    </a:moveTo>
                    <a:cubicBezTo>
                      <a:pt x="218" y="224"/>
                      <a:pt x="218" y="224"/>
                      <a:pt x="218" y="224"/>
                    </a:cubicBezTo>
                    <a:cubicBezTo>
                      <a:pt x="221" y="207"/>
                      <a:pt x="223" y="188"/>
                      <a:pt x="223" y="170"/>
                    </a:cubicBezTo>
                    <a:cubicBezTo>
                      <a:pt x="298" y="170"/>
                      <a:pt x="298" y="170"/>
                      <a:pt x="298" y="170"/>
                    </a:cubicBezTo>
                    <a:cubicBezTo>
                      <a:pt x="296" y="189"/>
                      <a:pt x="291" y="207"/>
                      <a:pt x="283" y="224"/>
                    </a:cubicBezTo>
                    <a:close/>
                    <a:moveTo>
                      <a:pt x="160" y="298"/>
                    </a:moveTo>
                    <a:cubicBezTo>
                      <a:pt x="149" y="298"/>
                      <a:pt x="136" y="279"/>
                      <a:pt x="127" y="245"/>
                    </a:cubicBezTo>
                    <a:cubicBezTo>
                      <a:pt x="192" y="245"/>
                      <a:pt x="192" y="245"/>
                      <a:pt x="192" y="245"/>
                    </a:cubicBezTo>
                    <a:cubicBezTo>
                      <a:pt x="183" y="279"/>
                      <a:pt x="170" y="298"/>
                      <a:pt x="160" y="298"/>
                    </a:cubicBezTo>
                    <a:close/>
                    <a:moveTo>
                      <a:pt x="122" y="224"/>
                    </a:moveTo>
                    <a:cubicBezTo>
                      <a:pt x="120" y="208"/>
                      <a:pt x="118" y="190"/>
                      <a:pt x="117" y="170"/>
                    </a:cubicBezTo>
                    <a:cubicBezTo>
                      <a:pt x="202" y="170"/>
                      <a:pt x="202" y="170"/>
                      <a:pt x="202" y="170"/>
                    </a:cubicBezTo>
                    <a:cubicBezTo>
                      <a:pt x="202" y="190"/>
                      <a:pt x="200" y="208"/>
                      <a:pt x="197" y="224"/>
                    </a:cubicBezTo>
                    <a:lnTo>
                      <a:pt x="122" y="224"/>
                    </a:lnTo>
                    <a:close/>
                    <a:moveTo>
                      <a:pt x="22" y="170"/>
                    </a:moveTo>
                    <a:cubicBezTo>
                      <a:pt x="96" y="170"/>
                      <a:pt x="96" y="170"/>
                      <a:pt x="96" y="170"/>
                    </a:cubicBezTo>
                    <a:cubicBezTo>
                      <a:pt x="96" y="188"/>
                      <a:pt x="98" y="207"/>
                      <a:pt x="101" y="224"/>
                    </a:cubicBezTo>
                    <a:cubicBezTo>
                      <a:pt x="37" y="224"/>
                      <a:pt x="37" y="224"/>
                      <a:pt x="37" y="224"/>
                    </a:cubicBezTo>
                    <a:cubicBezTo>
                      <a:pt x="28" y="207"/>
                      <a:pt x="23" y="189"/>
                      <a:pt x="22" y="170"/>
                    </a:cubicBezTo>
                    <a:close/>
                    <a:moveTo>
                      <a:pt x="37" y="96"/>
                    </a:moveTo>
                    <a:cubicBezTo>
                      <a:pt x="101" y="96"/>
                      <a:pt x="101" y="96"/>
                      <a:pt x="101" y="96"/>
                    </a:cubicBezTo>
                    <a:cubicBezTo>
                      <a:pt x="98" y="113"/>
                      <a:pt x="96" y="131"/>
                      <a:pt x="96" y="149"/>
                    </a:cubicBezTo>
                    <a:cubicBezTo>
                      <a:pt x="22" y="149"/>
                      <a:pt x="22" y="149"/>
                      <a:pt x="22" y="149"/>
                    </a:cubicBezTo>
                    <a:cubicBezTo>
                      <a:pt x="23" y="130"/>
                      <a:pt x="28" y="112"/>
                      <a:pt x="37" y="96"/>
                    </a:cubicBezTo>
                    <a:close/>
                    <a:moveTo>
                      <a:pt x="160" y="21"/>
                    </a:moveTo>
                    <a:cubicBezTo>
                      <a:pt x="170" y="21"/>
                      <a:pt x="183" y="41"/>
                      <a:pt x="192" y="74"/>
                    </a:cubicBezTo>
                    <a:cubicBezTo>
                      <a:pt x="127" y="74"/>
                      <a:pt x="127" y="74"/>
                      <a:pt x="127" y="74"/>
                    </a:cubicBezTo>
                    <a:cubicBezTo>
                      <a:pt x="136" y="41"/>
                      <a:pt x="149" y="21"/>
                      <a:pt x="160" y="21"/>
                    </a:cubicBezTo>
                    <a:close/>
                    <a:moveTo>
                      <a:pt x="197" y="96"/>
                    </a:moveTo>
                    <a:cubicBezTo>
                      <a:pt x="200" y="111"/>
                      <a:pt x="202" y="129"/>
                      <a:pt x="202" y="149"/>
                    </a:cubicBezTo>
                    <a:cubicBezTo>
                      <a:pt x="117" y="149"/>
                      <a:pt x="117" y="149"/>
                      <a:pt x="117" y="149"/>
                    </a:cubicBezTo>
                    <a:cubicBezTo>
                      <a:pt x="118" y="129"/>
                      <a:pt x="120" y="111"/>
                      <a:pt x="122" y="96"/>
                    </a:cubicBezTo>
                    <a:lnTo>
                      <a:pt x="197" y="96"/>
                    </a:lnTo>
                    <a:close/>
                    <a:moveTo>
                      <a:pt x="223" y="149"/>
                    </a:moveTo>
                    <a:cubicBezTo>
                      <a:pt x="223" y="131"/>
                      <a:pt x="221" y="113"/>
                      <a:pt x="218" y="96"/>
                    </a:cubicBezTo>
                    <a:cubicBezTo>
                      <a:pt x="283" y="96"/>
                      <a:pt x="283" y="96"/>
                      <a:pt x="283" y="96"/>
                    </a:cubicBezTo>
                    <a:cubicBezTo>
                      <a:pt x="291" y="112"/>
                      <a:pt x="296" y="130"/>
                      <a:pt x="298" y="149"/>
                    </a:cubicBezTo>
                    <a:lnTo>
                      <a:pt x="223" y="149"/>
                    </a:lnTo>
                    <a:close/>
                    <a:moveTo>
                      <a:pt x="269" y="74"/>
                    </a:moveTo>
                    <a:cubicBezTo>
                      <a:pt x="214" y="74"/>
                      <a:pt x="214" y="74"/>
                      <a:pt x="214" y="74"/>
                    </a:cubicBezTo>
                    <a:cubicBezTo>
                      <a:pt x="210" y="55"/>
                      <a:pt x="203" y="39"/>
                      <a:pt x="196" y="26"/>
                    </a:cubicBezTo>
                    <a:cubicBezTo>
                      <a:pt x="225" y="34"/>
                      <a:pt x="251" y="51"/>
                      <a:pt x="269" y="74"/>
                    </a:cubicBezTo>
                    <a:close/>
                    <a:moveTo>
                      <a:pt x="124" y="26"/>
                    </a:moveTo>
                    <a:cubicBezTo>
                      <a:pt x="116" y="39"/>
                      <a:pt x="110" y="55"/>
                      <a:pt x="105" y="74"/>
                    </a:cubicBezTo>
                    <a:cubicBezTo>
                      <a:pt x="51" y="74"/>
                      <a:pt x="51" y="74"/>
                      <a:pt x="51" y="74"/>
                    </a:cubicBezTo>
                    <a:cubicBezTo>
                      <a:pt x="69" y="51"/>
                      <a:pt x="94" y="34"/>
                      <a:pt x="124" y="26"/>
                    </a:cubicBezTo>
                    <a:close/>
                    <a:moveTo>
                      <a:pt x="51" y="245"/>
                    </a:moveTo>
                    <a:cubicBezTo>
                      <a:pt x="105" y="245"/>
                      <a:pt x="105" y="245"/>
                      <a:pt x="105" y="245"/>
                    </a:cubicBezTo>
                    <a:cubicBezTo>
                      <a:pt x="110" y="264"/>
                      <a:pt x="116" y="281"/>
                      <a:pt x="124" y="293"/>
                    </a:cubicBezTo>
                    <a:cubicBezTo>
                      <a:pt x="94" y="285"/>
                      <a:pt x="69" y="268"/>
                      <a:pt x="51" y="245"/>
                    </a:cubicBezTo>
                    <a:close/>
                    <a:moveTo>
                      <a:pt x="196" y="293"/>
                    </a:moveTo>
                    <a:cubicBezTo>
                      <a:pt x="203" y="281"/>
                      <a:pt x="210" y="264"/>
                      <a:pt x="214" y="245"/>
                    </a:cubicBezTo>
                    <a:cubicBezTo>
                      <a:pt x="269" y="245"/>
                      <a:pt x="269" y="245"/>
                      <a:pt x="269" y="245"/>
                    </a:cubicBezTo>
                    <a:cubicBezTo>
                      <a:pt x="251" y="268"/>
                      <a:pt x="225" y="285"/>
                      <a:pt x="196" y="29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GB"/>
              </a:p>
            </p:txBody>
          </p:sp>
          <p:sp>
            <p:nvSpPr>
              <p:cNvPr id="18" name="Freeform 55">
                <a:extLst>
                  <a:ext uri="{FF2B5EF4-FFF2-40B4-BE49-F238E27FC236}">
                    <a16:creationId xmlns:a16="http://schemas.microsoft.com/office/drawing/2014/main" id="{C6023F7A-281F-C844-BA27-C60AACC50B4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83" y="1046"/>
                <a:ext cx="340" cy="341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GB"/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A6030B49-ABBA-714D-8A34-EC40E7E014FC}"/>
                </a:ext>
              </a:extLst>
            </p:cNvPr>
            <p:cNvGrpSpPr/>
            <p:nvPr/>
          </p:nvGrpSpPr>
          <p:grpSpPr>
            <a:xfrm>
              <a:off x="11116624" y="173688"/>
              <a:ext cx="365760" cy="365760"/>
              <a:chOff x="6806797" y="2076826"/>
              <a:chExt cx="685804" cy="685804"/>
            </a:xfrm>
            <a:solidFill>
              <a:schemeClr val="bg1">
                <a:lumMod val="75000"/>
              </a:schemeClr>
            </a:solidFill>
          </p:grpSpPr>
          <p:sp>
            <p:nvSpPr>
              <p:cNvPr id="15" name="Freeform 623">
                <a:extLst>
                  <a:ext uri="{FF2B5EF4-FFF2-40B4-BE49-F238E27FC236}">
                    <a16:creationId xmlns:a16="http://schemas.microsoft.com/office/drawing/2014/main" id="{A4FD5118-54E1-AB45-A285-8EC74B0C2A0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06797" y="2076826"/>
                <a:ext cx="685804" cy="685804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GB"/>
              </a:p>
            </p:txBody>
          </p:sp>
          <p:pic>
            <p:nvPicPr>
              <p:cNvPr id="16" name="Graphic 15" descr="Target">
                <a:extLst>
                  <a:ext uri="{FF2B5EF4-FFF2-40B4-BE49-F238E27FC236}">
                    <a16:creationId xmlns:a16="http://schemas.microsoft.com/office/drawing/2014/main" id="{F49CF584-F4A5-1646-8AF3-B500F507B81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6852519" y="2122548"/>
                <a:ext cx="594360" cy="594360"/>
              </a:xfrm>
              <a:prstGeom prst="rect">
                <a:avLst/>
              </a:prstGeom>
            </p:spPr>
          </p:pic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7F71AAC5-B834-D242-BB6F-8A482CE61E94}"/>
                </a:ext>
              </a:extLst>
            </p:cNvPr>
            <p:cNvGrpSpPr/>
            <p:nvPr/>
          </p:nvGrpSpPr>
          <p:grpSpPr>
            <a:xfrm>
              <a:off x="11538918" y="173688"/>
              <a:ext cx="365760" cy="365760"/>
              <a:chOff x="6806753" y="3091011"/>
              <a:chExt cx="685800" cy="685800"/>
            </a:xfrm>
            <a:solidFill>
              <a:schemeClr val="bg1">
                <a:lumMod val="75000"/>
              </a:schemeClr>
            </a:solidFill>
          </p:grpSpPr>
          <p:sp>
            <p:nvSpPr>
              <p:cNvPr id="13" name="Freeform 727">
                <a:extLst>
                  <a:ext uri="{FF2B5EF4-FFF2-40B4-BE49-F238E27FC236}">
                    <a16:creationId xmlns:a16="http://schemas.microsoft.com/office/drawing/2014/main" id="{EB066332-9C45-C14B-878C-C484243F361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06753" y="3091011"/>
                <a:ext cx="685800" cy="685800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GB"/>
              </a:p>
            </p:txBody>
          </p:sp>
          <p:pic>
            <p:nvPicPr>
              <p:cNvPr id="14" name="Graphic 13" descr="Head with gears">
                <a:extLst>
                  <a:ext uri="{FF2B5EF4-FFF2-40B4-BE49-F238E27FC236}">
                    <a16:creationId xmlns:a16="http://schemas.microsoft.com/office/drawing/2014/main" id="{4B6CB2A0-BC97-DA40-A5FE-F028EA0A512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6932592" y="3216850"/>
                <a:ext cx="434123" cy="434123"/>
              </a:xfrm>
              <a:prstGeom prst="rect">
                <a:avLst/>
              </a:prstGeom>
            </p:spPr>
          </p:pic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BF1345B2-7AD3-6A47-B893-68DE43D819F9}"/>
                </a:ext>
              </a:extLst>
            </p:cNvPr>
            <p:cNvGrpSpPr/>
            <p:nvPr/>
          </p:nvGrpSpPr>
          <p:grpSpPr>
            <a:xfrm>
              <a:off x="10694331" y="173688"/>
              <a:ext cx="365760" cy="365760"/>
              <a:chOff x="6806753" y="2142199"/>
              <a:chExt cx="685804" cy="685804"/>
            </a:xfrm>
          </p:grpSpPr>
          <p:sp>
            <p:nvSpPr>
              <p:cNvPr id="11" name="Freeform 623">
                <a:extLst>
                  <a:ext uri="{FF2B5EF4-FFF2-40B4-BE49-F238E27FC236}">
                    <a16:creationId xmlns:a16="http://schemas.microsoft.com/office/drawing/2014/main" id="{15FD7F61-1750-854A-9E62-FE580DC1D5E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06753" y="2142199"/>
                <a:ext cx="685804" cy="685804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solidFill>
                <a:srgbClr val="36B9EE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GB"/>
              </a:p>
            </p:txBody>
          </p:sp>
          <p:pic>
            <p:nvPicPr>
              <p:cNvPr id="12" name="Graphic 11" descr="Badge Tick outline">
                <a:extLst>
                  <a:ext uri="{FF2B5EF4-FFF2-40B4-BE49-F238E27FC236}">
                    <a16:creationId xmlns:a16="http://schemas.microsoft.com/office/drawing/2014/main" id="{32933E97-681E-AD44-99AA-4FDAFC6D4F0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6834429" y="2170883"/>
                <a:ext cx="628436" cy="628436"/>
              </a:xfrm>
              <a:prstGeom prst="rect">
                <a:avLst/>
              </a:prstGeom>
            </p:spPr>
          </p:pic>
        </p:grpSp>
      </p:grpSp>
      <p:sp>
        <p:nvSpPr>
          <p:cNvPr id="23" name="Content Placeholder 1">
            <a:extLst>
              <a:ext uri="{FF2B5EF4-FFF2-40B4-BE49-F238E27FC236}">
                <a16:creationId xmlns:a16="http://schemas.microsoft.com/office/drawing/2014/main" id="{BEE15851-939A-1A44-A774-AF03855559D8}"/>
              </a:ext>
            </a:extLst>
          </p:cNvPr>
          <p:cNvSpPr txBox="1">
            <a:spLocks/>
          </p:cNvSpPr>
          <p:nvPr/>
        </p:nvSpPr>
        <p:spPr>
          <a:xfrm>
            <a:off x="464998" y="1676400"/>
            <a:ext cx="2397946" cy="4705351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 spc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spc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spc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spc="0" baseline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spc="0" baseline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his is a manual process to create categorical options for the drop down filter on Dashboard 1 called ‘Report prepared for:”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he filter is linked to the </a:t>
            </a:r>
            <a:r>
              <a:rPr lang="en-US" dirty="0" err="1"/>
              <a:t>KPI_Responses</a:t>
            </a:r>
            <a:r>
              <a:rPr lang="en-US" dirty="0"/>
              <a:t> sheet displayed on Dashboard 1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he source data is the “Organization” data column from Snowflake INTERIM_DATA_2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he existing data source for the filter is the grouped version of the organization data called “</a:t>
            </a:r>
            <a:r>
              <a:rPr lang="en-US" dirty="0" err="1"/>
              <a:t>Org_Group</a:t>
            </a:r>
            <a:r>
              <a:rPr lang="en-US" dirty="0"/>
              <a:t>”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1" dirty="0"/>
              <a:t>Check “</a:t>
            </a:r>
            <a:r>
              <a:rPr lang="en-US" b="1" dirty="0" err="1"/>
              <a:t>Org_Group</a:t>
            </a:r>
            <a:r>
              <a:rPr lang="en-US" b="1" dirty="0"/>
              <a:t>” for updates and make edits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BF9A7E20-C5DD-2A4A-9E70-AA50A0E9B7BA}"/>
              </a:ext>
            </a:extLst>
          </p:cNvPr>
          <p:cNvSpPr txBox="1">
            <a:spLocks/>
          </p:cNvSpPr>
          <p:nvPr/>
        </p:nvSpPr>
        <p:spPr>
          <a:xfrm>
            <a:off x="469900" y="1127760"/>
            <a:ext cx="2393043" cy="548640"/>
          </a:xfrm>
          <a:prstGeom prst="rect">
            <a:avLst/>
          </a:prstGeom>
          <a:solidFill>
            <a:srgbClr val="7ACAEE"/>
          </a:solidFill>
        </p:spPr>
        <p:txBody>
          <a:bodyPr anchor="ctr"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 spc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spc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spc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spc="0" baseline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spc="0" baseline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/>
              <a:t>Group Organization Names</a:t>
            </a:r>
          </a:p>
        </p:txBody>
      </p:sp>
      <p:pic>
        <p:nvPicPr>
          <p:cNvPr id="19" name="Picture 18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7A5EF500-EC00-C74A-825B-AFB7C447C23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082104" y="1111415"/>
            <a:ext cx="4915807" cy="2536391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234610CF-E73F-0A49-9A8F-6A9BC16534AA}"/>
              </a:ext>
            </a:extLst>
          </p:cNvPr>
          <p:cNvSpPr txBox="1"/>
          <p:nvPr/>
        </p:nvSpPr>
        <p:spPr>
          <a:xfrm>
            <a:off x="3082104" y="3676010"/>
            <a:ext cx="274320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1000" dirty="0">
                <a:solidFill>
                  <a:srgbClr val="31313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ilter as it appears at the top of Dashboard 1.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35C27C0F-AC81-F045-8845-2587E99228E2}"/>
              </a:ext>
            </a:extLst>
          </p:cNvPr>
          <p:cNvSpPr txBox="1"/>
          <p:nvPr/>
        </p:nvSpPr>
        <p:spPr>
          <a:xfrm>
            <a:off x="8693230" y="3493917"/>
            <a:ext cx="2196935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1000" dirty="0">
                <a:solidFill>
                  <a:srgbClr val="31313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he dropdown “Report prepared for:” menu on Dashboard 1 can be edited from the Survey Responses KPI sheet.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711BA2B-7258-9B42-A7A5-A8BDFE978DB8}"/>
              </a:ext>
            </a:extLst>
          </p:cNvPr>
          <p:cNvSpPr txBox="1"/>
          <p:nvPr/>
        </p:nvSpPr>
        <p:spPr>
          <a:xfrm>
            <a:off x="8802231" y="298135"/>
            <a:ext cx="1312860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200" b="1" dirty="0">
                <a:solidFill>
                  <a:srgbClr val="C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RITICAL ACTION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A454726D-7AB5-A54C-AA20-1FAFBA500BF6}"/>
              </a:ext>
            </a:extLst>
          </p:cNvPr>
          <p:cNvGrpSpPr/>
          <p:nvPr/>
        </p:nvGrpSpPr>
        <p:grpSpPr>
          <a:xfrm>
            <a:off x="8597590" y="1055915"/>
            <a:ext cx="2380057" cy="2373086"/>
            <a:chOff x="8597590" y="1055915"/>
            <a:chExt cx="2380057" cy="2373086"/>
          </a:xfrm>
          <a:noFill/>
        </p:grpSpPr>
        <p:pic>
          <p:nvPicPr>
            <p:cNvPr id="21" name="Picture 20" descr="Application&#10;&#10;Description automatically generated with low confidence">
              <a:extLst>
                <a:ext uri="{FF2B5EF4-FFF2-40B4-BE49-F238E27FC236}">
                  <a16:creationId xmlns:a16="http://schemas.microsoft.com/office/drawing/2014/main" id="{94EC50DD-FB8A-174E-BD19-DAABA2822D7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/>
            <a:srcRect l="17057" t="6509" r="14914" b="6219"/>
            <a:stretch/>
          </p:blipFill>
          <p:spPr>
            <a:xfrm>
              <a:off x="8597590" y="1055915"/>
              <a:ext cx="2380057" cy="2373086"/>
            </a:xfrm>
            <a:prstGeom prst="rect">
              <a:avLst/>
            </a:prstGeom>
            <a:grpFill/>
          </p:spPr>
        </p:pic>
        <p:sp>
          <p:nvSpPr>
            <p:cNvPr id="4" name="Oval 3">
              <a:extLst>
                <a:ext uri="{FF2B5EF4-FFF2-40B4-BE49-F238E27FC236}">
                  <a16:creationId xmlns:a16="http://schemas.microsoft.com/office/drawing/2014/main" id="{C98D8239-6DC1-B040-9FAB-108F7D102387}"/>
                </a:ext>
              </a:extLst>
            </p:cNvPr>
            <p:cNvSpPr/>
            <p:nvPr/>
          </p:nvSpPr>
          <p:spPr bwMode="gray">
            <a:xfrm>
              <a:off x="10626647" y="1628673"/>
              <a:ext cx="351000" cy="351000"/>
            </a:xfrm>
            <a:prstGeom prst="ellipse">
              <a:avLst/>
            </a:prstGeom>
            <a:grpFill/>
            <a:ln w="28575" algn="ctr">
              <a:solidFill>
                <a:srgbClr val="FF0000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08232558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5DAED6B1-6292-6247-980F-02C1909970F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9900" y="736689"/>
            <a:ext cx="11252200" cy="283090"/>
          </a:xfrm>
        </p:spPr>
        <p:txBody>
          <a:bodyPr/>
          <a:lstStyle/>
          <a:p>
            <a:r>
              <a:rPr lang="en-US" sz="1200" dirty="0"/>
              <a:t>Using Tableau’s group function to edit organization name data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3EC109-DCC4-D84A-96DD-9E1DD06C1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3564"/>
          </a:xfrm>
        </p:spPr>
        <p:txBody>
          <a:bodyPr/>
          <a:lstStyle/>
          <a:p>
            <a:r>
              <a:rPr lang="en-US" b="1" spc="0" dirty="0"/>
              <a:t>Filters | </a:t>
            </a:r>
            <a:r>
              <a:rPr lang="en-US" spc="0" dirty="0"/>
              <a:t>Organizations Names</a:t>
            </a:r>
            <a:endParaRPr lang="en-US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E6DFAAE-C9C6-9D46-B795-9BC79C578A16}"/>
              </a:ext>
            </a:extLst>
          </p:cNvPr>
          <p:cNvGrpSpPr/>
          <p:nvPr/>
        </p:nvGrpSpPr>
        <p:grpSpPr>
          <a:xfrm>
            <a:off x="10272038" y="173150"/>
            <a:ext cx="1632640" cy="366837"/>
            <a:chOff x="10272038" y="173150"/>
            <a:chExt cx="1632640" cy="366837"/>
          </a:xfrm>
        </p:grpSpPr>
        <p:grpSp>
          <p:nvGrpSpPr>
            <p:cNvPr id="7" name="Group 53">
              <a:extLst>
                <a:ext uri="{FF2B5EF4-FFF2-40B4-BE49-F238E27FC236}">
                  <a16:creationId xmlns:a16="http://schemas.microsoft.com/office/drawing/2014/main" id="{6C2C28C1-636A-1340-B840-A66A9F1DF6AB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0272038" y="173150"/>
              <a:ext cx="365760" cy="366837"/>
              <a:chOff x="5183" y="1046"/>
              <a:chExt cx="340" cy="341"/>
            </a:xfrm>
            <a:solidFill>
              <a:schemeClr val="bg1">
                <a:lumMod val="75000"/>
              </a:schemeClr>
            </a:solidFill>
          </p:grpSpPr>
          <p:sp>
            <p:nvSpPr>
              <p:cNvPr id="17" name="Freeform 54">
                <a:extLst>
                  <a:ext uri="{FF2B5EF4-FFF2-40B4-BE49-F238E27FC236}">
                    <a16:creationId xmlns:a16="http://schemas.microsoft.com/office/drawing/2014/main" id="{B3E3306A-20E7-4246-B14C-099787069D1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47" y="1110"/>
                <a:ext cx="212" cy="213"/>
              </a:xfrm>
              <a:custGeom>
                <a:avLst/>
                <a:gdLst>
                  <a:gd name="T0" fmla="*/ 160 w 320"/>
                  <a:gd name="T1" fmla="*/ 0 h 320"/>
                  <a:gd name="T2" fmla="*/ 0 w 320"/>
                  <a:gd name="T3" fmla="*/ 160 h 320"/>
                  <a:gd name="T4" fmla="*/ 160 w 320"/>
                  <a:gd name="T5" fmla="*/ 320 h 320"/>
                  <a:gd name="T6" fmla="*/ 320 w 320"/>
                  <a:gd name="T7" fmla="*/ 160 h 320"/>
                  <a:gd name="T8" fmla="*/ 160 w 320"/>
                  <a:gd name="T9" fmla="*/ 0 h 320"/>
                  <a:gd name="T10" fmla="*/ 283 w 320"/>
                  <a:gd name="T11" fmla="*/ 224 h 320"/>
                  <a:gd name="T12" fmla="*/ 218 w 320"/>
                  <a:gd name="T13" fmla="*/ 224 h 320"/>
                  <a:gd name="T14" fmla="*/ 223 w 320"/>
                  <a:gd name="T15" fmla="*/ 170 h 320"/>
                  <a:gd name="T16" fmla="*/ 298 w 320"/>
                  <a:gd name="T17" fmla="*/ 170 h 320"/>
                  <a:gd name="T18" fmla="*/ 283 w 320"/>
                  <a:gd name="T19" fmla="*/ 224 h 320"/>
                  <a:gd name="T20" fmla="*/ 160 w 320"/>
                  <a:gd name="T21" fmla="*/ 298 h 320"/>
                  <a:gd name="T22" fmla="*/ 127 w 320"/>
                  <a:gd name="T23" fmla="*/ 245 h 320"/>
                  <a:gd name="T24" fmla="*/ 192 w 320"/>
                  <a:gd name="T25" fmla="*/ 245 h 320"/>
                  <a:gd name="T26" fmla="*/ 160 w 320"/>
                  <a:gd name="T27" fmla="*/ 298 h 320"/>
                  <a:gd name="T28" fmla="*/ 122 w 320"/>
                  <a:gd name="T29" fmla="*/ 224 h 320"/>
                  <a:gd name="T30" fmla="*/ 117 w 320"/>
                  <a:gd name="T31" fmla="*/ 170 h 320"/>
                  <a:gd name="T32" fmla="*/ 202 w 320"/>
                  <a:gd name="T33" fmla="*/ 170 h 320"/>
                  <a:gd name="T34" fmla="*/ 197 w 320"/>
                  <a:gd name="T35" fmla="*/ 224 h 320"/>
                  <a:gd name="T36" fmla="*/ 122 w 320"/>
                  <a:gd name="T37" fmla="*/ 224 h 320"/>
                  <a:gd name="T38" fmla="*/ 22 w 320"/>
                  <a:gd name="T39" fmla="*/ 170 h 320"/>
                  <a:gd name="T40" fmla="*/ 96 w 320"/>
                  <a:gd name="T41" fmla="*/ 170 h 320"/>
                  <a:gd name="T42" fmla="*/ 101 w 320"/>
                  <a:gd name="T43" fmla="*/ 224 h 320"/>
                  <a:gd name="T44" fmla="*/ 37 w 320"/>
                  <a:gd name="T45" fmla="*/ 224 h 320"/>
                  <a:gd name="T46" fmla="*/ 22 w 320"/>
                  <a:gd name="T47" fmla="*/ 170 h 320"/>
                  <a:gd name="T48" fmla="*/ 37 w 320"/>
                  <a:gd name="T49" fmla="*/ 96 h 320"/>
                  <a:gd name="T50" fmla="*/ 101 w 320"/>
                  <a:gd name="T51" fmla="*/ 96 h 320"/>
                  <a:gd name="T52" fmla="*/ 96 w 320"/>
                  <a:gd name="T53" fmla="*/ 149 h 320"/>
                  <a:gd name="T54" fmla="*/ 22 w 320"/>
                  <a:gd name="T55" fmla="*/ 149 h 320"/>
                  <a:gd name="T56" fmla="*/ 37 w 320"/>
                  <a:gd name="T57" fmla="*/ 96 h 320"/>
                  <a:gd name="T58" fmla="*/ 160 w 320"/>
                  <a:gd name="T59" fmla="*/ 21 h 320"/>
                  <a:gd name="T60" fmla="*/ 192 w 320"/>
                  <a:gd name="T61" fmla="*/ 74 h 320"/>
                  <a:gd name="T62" fmla="*/ 127 w 320"/>
                  <a:gd name="T63" fmla="*/ 74 h 320"/>
                  <a:gd name="T64" fmla="*/ 160 w 320"/>
                  <a:gd name="T65" fmla="*/ 21 h 320"/>
                  <a:gd name="T66" fmla="*/ 197 w 320"/>
                  <a:gd name="T67" fmla="*/ 96 h 320"/>
                  <a:gd name="T68" fmla="*/ 202 w 320"/>
                  <a:gd name="T69" fmla="*/ 149 h 320"/>
                  <a:gd name="T70" fmla="*/ 117 w 320"/>
                  <a:gd name="T71" fmla="*/ 149 h 320"/>
                  <a:gd name="T72" fmla="*/ 122 w 320"/>
                  <a:gd name="T73" fmla="*/ 96 h 320"/>
                  <a:gd name="T74" fmla="*/ 197 w 320"/>
                  <a:gd name="T75" fmla="*/ 96 h 320"/>
                  <a:gd name="T76" fmla="*/ 223 w 320"/>
                  <a:gd name="T77" fmla="*/ 149 h 320"/>
                  <a:gd name="T78" fmla="*/ 218 w 320"/>
                  <a:gd name="T79" fmla="*/ 96 h 320"/>
                  <a:gd name="T80" fmla="*/ 283 w 320"/>
                  <a:gd name="T81" fmla="*/ 96 h 320"/>
                  <a:gd name="T82" fmla="*/ 298 w 320"/>
                  <a:gd name="T83" fmla="*/ 149 h 320"/>
                  <a:gd name="T84" fmla="*/ 223 w 320"/>
                  <a:gd name="T85" fmla="*/ 149 h 320"/>
                  <a:gd name="T86" fmla="*/ 269 w 320"/>
                  <a:gd name="T87" fmla="*/ 74 h 320"/>
                  <a:gd name="T88" fmla="*/ 214 w 320"/>
                  <a:gd name="T89" fmla="*/ 74 h 320"/>
                  <a:gd name="T90" fmla="*/ 196 w 320"/>
                  <a:gd name="T91" fmla="*/ 26 h 320"/>
                  <a:gd name="T92" fmla="*/ 269 w 320"/>
                  <a:gd name="T93" fmla="*/ 74 h 320"/>
                  <a:gd name="T94" fmla="*/ 124 w 320"/>
                  <a:gd name="T95" fmla="*/ 26 h 320"/>
                  <a:gd name="T96" fmla="*/ 105 w 320"/>
                  <a:gd name="T97" fmla="*/ 74 h 320"/>
                  <a:gd name="T98" fmla="*/ 51 w 320"/>
                  <a:gd name="T99" fmla="*/ 74 h 320"/>
                  <a:gd name="T100" fmla="*/ 124 w 320"/>
                  <a:gd name="T101" fmla="*/ 26 h 320"/>
                  <a:gd name="T102" fmla="*/ 51 w 320"/>
                  <a:gd name="T103" fmla="*/ 245 h 320"/>
                  <a:gd name="T104" fmla="*/ 105 w 320"/>
                  <a:gd name="T105" fmla="*/ 245 h 320"/>
                  <a:gd name="T106" fmla="*/ 124 w 320"/>
                  <a:gd name="T107" fmla="*/ 293 h 320"/>
                  <a:gd name="T108" fmla="*/ 51 w 320"/>
                  <a:gd name="T109" fmla="*/ 245 h 320"/>
                  <a:gd name="T110" fmla="*/ 196 w 320"/>
                  <a:gd name="T111" fmla="*/ 293 h 320"/>
                  <a:gd name="T112" fmla="*/ 214 w 320"/>
                  <a:gd name="T113" fmla="*/ 245 h 320"/>
                  <a:gd name="T114" fmla="*/ 269 w 320"/>
                  <a:gd name="T115" fmla="*/ 245 h 320"/>
                  <a:gd name="T116" fmla="*/ 196 w 320"/>
                  <a:gd name="T117" fmla="*/ 293 h 3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320" h="320">
                    <a:moveTo>
                      <a:pt x="160" y="0"/>
                    </a:moveTo>
                    <a:cubicBezTo>
                      <a:pt x="71" y="0"/>
                      <a:pt x="0" y="71"/>
                      <a:pt x="0" y="160"/>
                    </a:cubicBezTo>
                    <a:cubicBezTo>
                      <a:pt x="0" y="248"/>
                      <a:pt x="71" y="320"/>
                      <a:pt x="160" y="320"/>
                    </a:cubicBezTo>
                    <a:cubicBezTo>
                      <a:pt x="248" y="320"/>
                      <a:pt x="320" y="248"/>
                      <a:pt x="320" y="160"/>
                    </a:cubicBezTo>
                    <a:cubicBezTo>
                      <a:pt x="320" y="71"/>
                      <a:pt x="248" y="0"/>
                      <a:pt x="160" y="0"/>
                    </a:cubicBezTo>
                    <a:close/>
                    <a:moveTo>
                      <a:pt x="283" y="224"/>
                    </a:moveTo>
                    <a:cubicBezTo>
                      <a:pt x="218" y="224"/>
                      <a:pt x="218" y="224"/>
                      <a:pt x="218" y="224"/>
                    </a:cubicBezTo>
                    <a:cubicBezTo>
                      <a:pt x="221" y="207"/>
                      <a:pt x="223" y="188"/>
                      <a:pt x="223" y="170"/>
                    </a:cubicBezTo>
                    <a:cubicBezTo>
                      <a:pt x="298" y="170"/>
                      <a:pt x="298" y="170"/>
                      <a:pt x="298" y="170"/>
                    </a:cubicBezTo>
                    <a:cubicBezTo>
                      <a:pt x="296" y="189"/>
                      <a:pt x="291" y="207"/>
                      <a:pt x="283" y="224"/>
                    </a:cubicBezTo>
                    <a:close/>
                    <a:moveTo>
                      <a:pt x="160" y="298"/>
                    </a:moveTo>
                    <a:cubicBezTo>
                      <a:pt x="149" y="298"/>
                      <a:pt x="136" y="279"/>
                      <a:pt x="127" y="245"/>
                    </a:cubicBezTo>
                    <a:cubicBezTo>
                      <a:pt x="192" y="245"/>
                      <a:pt x="192" y="245"/>
                      <a:pt x="192" y="245"/>
                    </a:cubicBezTo>
                    <a:cubicBezTo>
                      <a:pt x="183" y="279"/>
                      <a:pt x="170" y="298"/>
                      <a:pt x="160" y="298"/>
                    </a:cubicBezTo>
                    <a:close/>
                    <a:moveTo>
                      <a:pt x="122" y="224"/>
                    </a:moveTo>
                    <a:cubicBezTo>
                      <a:pt x="120" y="208"/>
                      <a:pt x="118" y="190"/>
                      <a:pt x="117" y="170"/>
                    </a:cubicBezTo>
                    <a:cubicBezTo>
                      <a:pt x="202" y="170"/>
                      <a:pt x="202" y="170"/>
                      <a:pt x="202" y="170"/>
                    </a:cubicBezTo>
                    <a:cubicBezTo>
                      <a:pt x="202" y="190"/>
                      <a:pt x="200" y="208"/>
                      <a:pt x="197" y="224"/>
                    </a:cubicBezTo>
                    <a:lnTo>
                      <a:pt x="122" y="224"/>
                    </a:lnTo>
                    <a:close/>
                    <a:moveTo>
                      <a:pt x="22" y="170"/>
                    </a:moveTo>
                    <a:cubicBezTo>
                      <a:pt x="96" y="170"/>
                      <a:pt x="96" y="170"/>
                      <a:pt x="96" y="170"/>
                    </a:cubicBezTo>
                    <a:cubicBezTo>
                      <a:pt x="96" y="188"/>
                      <a:pt x="98" y="207"/>
                      <a:pt x="101" y="224"/>
                    </a:cubicBezTo>
                    <a:cubicBezTo>
                      <a:pt x="37" y="224"/>
                      <a:pt x="37" y="224"/>
                      <a:pt x="37" y="224"/>
                    </a:cubicBezTo>
                    <a:cubicBezTo>
                      <a:pt x="28" y="207"/>
                      <a:pt x="23" y="189"/>
                      <a:pt x="22" y="170"/>
                    </a:cubicBezTo>
                    <a:close/>
                    <a:moveTo>
                      <a:pt x="37" y="96"/>
                    </a:moveTo>
                    <a:cubicBezTo>
                      <a:pt x="101" y="96"/>
                      <a:pt x="101" y="96"/>
                      <a:pt x="101" y="96"/>
                    </a:cubicBezTo>
                    <a:cubicBezTo>
                      <a:pt x="98" y="113"/>
                      <a:pt x="96" y="131"/>
                      <a:pt x="96" y="149"/>
                    </a:cubicBezTo>
                    <a:cubicBezTo>
                      <a:pt x="22" y="149"/>
                      <a:pt x="22" y="149"/>
                      <a:pt x="22" y="149"/>
                    </a:cubicBezTo>
                    <a:cubicBezTo>
                      <a:pt x="23" y="130"/>
                      <a:pt x="28" y="112"/>
                      <a:pt x="37" y="96"/>
                    </a:cubicBezTo>
                    <a:close/>
                    <a:moveTo>
                      <a:pt x="160" y="21"/>
                    </a:moveTo>
                    <a:cubicBezTo>
                      <a:pt x="170" y="21"/>
                      <a:pt x="183" y="41"/>
                      <a:pt x="192" y="74"/>
                    </a:cubicBezTo>
                    <a:cubicBezTo>
                      <a:pt x="127" y="74"/>
                      <a:pt x="127" y="74"/>
                      <a:pt x="127" y="74"/>
                    </a:cubicBezTo>
                    <a:cubicBezTo>
                      <a:pt x="136" y="41"/>
                      <a:pt x="149" y="21"/>
                      <a:pt x="160" y="21"/>
                    </a:cubicBezTo>
                    <a:close/>
                    <a:moveTo>
                      <a:pt x="197" y="96"/>
                    </a:moveTo>
                    <a:cubicBezTo>
                      <a:pt x="200" y="111"/>
                      <a:pt x="202" y="129"/>
                      <a:pt x="202" y="149"/>
                    </a:cubicBezTo>
                    <a:cubicBezTo>
                      <a:pt x="117" y="149"/>
                      <a:pt x="117" y="149"/>
                      <a:pt x="117" y="149"/>
                    </a:cubicBezTo>
                    <a:cubicBezTo>
                      <a:pt x="118" y="129"/>
                      <a:pt x="120" y="111"/>
                      <a:pt x="122" y="96"/>
                    </a:cubicBezTo>
                    <a:lnTo>
                      <a:pt x="197" y="96"/>
                    </a:lnTo>
                    <a:close/>
                    <a:moveTo>
                      <a:pt x="223" y="149"/>
                    </a:moveTo>
                    <a:cubicBezTo>
                      <a:pt x="223" y="131"/>
                      <a:pt x="221" y="113"/>
                      <a:pt x="218" y="96"/>
                    </a:cubicBezTo>
                    <a:cubicBezTo>
                      <a:pt x="283" y="96"/>
                      <a:pt x="283" y="96"/>
                      <a:pt x="283" y="96"/>
                    </a:cubicBezTo>
                    <a:cubicBezTo>
                      <a:pt x="291" y="112"/>
                      <a:pt x="296" y="130"/>
                      <a:pt x="298" y="149"/>
                    </a:cubicBezTo>
                    <a:lnTo>
                      <a:pt x="223" y="149"/>
                    </a:lnTo>
                    <a:close/>
                    <a:moveTo>
                      <a:pt x="269" y="74"/>
                    </a:moveTo>
                    <a:cubicBezTo>
                      <a:pt x="214" y="74"/>
                      <a:pt x="214" y="74"/>
                      <a:pt x="214" y="74"/>
                    </a:cubicBezTo>
                    <a:cubicBezTo>
                      <a:pt x="210" y="55"/>
                      <a:pt x="203" y="39"/>
                      <a:pt x="196" y="26"/>
                    </a:cubicBezTo>
                    <a:cubicBezTo>
                      <a:pt x="225" y="34"/>
                      <a:pt x="251" y="51"/>
                      <a:pt x="269" y="74"/>
                    </a:cubicBezTo>
                    <a:close/>
                    <a:moveTo>
                      <a:pt x="124" y="26"/>
                    </a:moveTo>
                    <a:cubicBezTo>
                      <a:pt x="116" y="39"/>
                      <a:pt x="110" y="55"/>
                      <a:pt x="105" y="74"/>
                    </a:cubicBezTo>
                    <a:cubicBezTo>
                      <a:pt x="51" y="74"/>
                      <a:pt x="51" y="74"/>
                      <a:pt x="51" y="74"/>
                    </a:cubicBezTo>
                    <a:cubicBezTo>
                      <a:pt x="69" y="51"/>
                      <a:pt x="94" y="34"/>
                      <a:pt x="124" y="26"/>
                    </a:cubicBezTo>
                    <a:close/>
                    <a:moveTo>
                      <a:pt x="51" y="245"/>
                    </a:moveTo>
                    <a:cubicBezTo>
                      <a:pt x="105" y="245"/>
                      <a:pt x="105" y="245"/>
                      <a:pt x="105" y="245"/>
                    </a:cubicBezTo>
                    <a:cubicBezTo>
                      <a:pt x="110" y="264"/>
                      <a:pt x="116" y="281"/>
                      <a:pt x="124" y="293"/>
                    </a:cubicBezTo>
                    <a:cubicBezTo>
                      <a:pt x="94" y="285"/>
                      <a:pt x="69" y="268"/>
                      <a:pt x="51" y="245"/>
                    </a:cubicBezTo>
                    <a:close/>
                    <a:moveTo>
                      <a:pt x="196" y="293"/>
                    </a:moveTo>
                    <a:cubicBezTo>
                      <a:pt x="203" y="281"/>
                      <a:pt x="210" y="264"/>
                      <a:pt x="214" y="245"/>
                    </a:cubicBezTo>
                    <a:cubicBezTo>
                      <a:pt x="269" y="245"/>
                      <a:pt x="269" y="245"/>
                      <a:pt x="269" y="245"/>
                    </a:cubicBezTo>
                    <a:cubicBezTo>
                      <a:pt x="251" y="268"/>
                      <a:pt x="225" y="285"/>
                      <a:pt x="196" y="29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" name="Freeform 55">
                <a:extLst>
                  <a:ext uri="{FF2B5EF4-FFF2-40B4-BE49-F238E27FC236}">
                    <a16:creationId xmlns:a16="http://schemas.microsoft.com/office/drawing/2014/main" id="{C6023F7A-281F-C844-BA27-C60AACC50B4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83" y="1046"/>
                <a:ext cx="340" cy="341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A6030B49-ABBA-714D-8A34-EC40E7E014FC}"/>
                </a:ext>
              </a:extLst>
            </p:cNvPr>
            <p:cNvGrpSpPr/>
            <p:nvPr/>
          </p:nvGrpSpPr>
          <p:grpSpPr>
            <a:xfrm>
              <a:off x="11116624" y="173688"/>
              <a:ext cx="365760" cy="365760"/>
              <a:chOff x="6806797" y="2076826"/>
              <a:chExt cx="685804" cy="685804"/>
            </a:xfrm>
            <a:solidFill>
              <a:schemeClr val="bg1">
                <a:lumMod val="75000"/>
              </a:schemeClr>
            </a:solidFill>
          </p:grpSpPr>
          <p:sp>
            <p:nvSpPr>
              <p:cNvPr id="15" name="Freeform 623">
                <a:extLst>
                  <a:ext uri="{FF2B5EF4-FFF2-40B4-BE49-F238E27FC236}">
                    <a16:creationId xmlns:a16="http://schemas.microsoft.com/office/drawing/2014/main" id="{A4FD5118-54E1-AB45-A285-8EC74B0C2A0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06797" y="2076826"/>
                <a:ext cx="685804" cy="685804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pic>
            <p:nvPicPr>
              <p:cNvPr id="16" name="Graphic 15" descr="Target">
                <a:extLst>
                  <a:ext uri="{FF2B5EF4-FFF2-40B4-BE49-F238E27FC236}">
                    <a16:creationId xmlns:a16="http://schemas.microsoft.com/office/drawing/2014/main" id="{F49CF584-F4A5-1646-8AF3-B500F507B81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6852519" y="2122548"/>
                <a:ext cx="594360" cy="594360"/>
              </a:xfrm>
              <a:prstGeom prst="rect">
                <a:avLst/>
              </a:prstGeom>
            </p:spPr>
          </p:pic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7F71AAC5-B834-D242-BB6F-8A482CE61E94}"/>
                </a:ext>
              </a:extLst>
            </p:cNvPr>
            <p:cNvGrpSpPr/>
            <p:nvPr/>
          </p:nvGrpSpPr>
          <p:grpSpPr>
            <a:xfrm>
              <a:off x="11538918" y="173688"/>
              <a:ext cx="365760" cy="365760"/>
              <a:chOff x="6806753" y="3091011"/>
              <a:chExt cx="685800" cy="685800"/>
            </a:xfrm>
            <a:solidFill>
              <a:schemeClr val="bg1">
                <a:lumMod val="75000"/>
              </a:schemeClr>
            </a:solidFill>
          </p:grpSpPr>
          <p:sp>
            <p:nvSpPr>
              <p:cNvPr id="13" name="Freeform 727">
                <a:extLst>
                  <a:ext uri="{FF2B5EF4-FFF2-40B4-BE49-F238E27FC236}">
                    <a16:creationId xmlns:a16="http://schemas.microsoft.com/office/drawing/2014/main" id="{EB066332-9C45-C14B-878C-C484243F361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06753" y="3091011"/>
                <a:ext cx="685800" cy="685800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pic>
            <p:nvPicPr>
              <p:cNvPr id="14" name="Graphic 13" descr="Head with gears">
                <a:extLst>
                  <a:ext uri="{FF2B5EF4-FFF2-40B4-BE49-F238E27FC236}">
                    <a16:creationId xmlns:a16="http://schemas.microsoft.com/office/drawing/2014/main" id="{4B6CB2A0-BC97-DA40-A5FE-F028EA0A512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6932592" y="3216850"/>
                <a:ext cx="434123" cy="434123"/>
              </a:xfrm>
              <a:prstGeom prst="rect">
                <a:avLst/>
              </a:prstGeom>
            </p:spPr>
          </p:pic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BF1345B2-7AD3-6A47-B893-68DE43D819F9}"/>
                </a:ext>
              </a:extLst>
            </p:cNvPr>
            <p:cNvGrpSpPr/>
            <p:nvPr/>
          </p:nvGrpSpPr>
          <p:grpSpPr>
            <a:xfrm>
              <a:off x="10694331" y="173688"/>
              <a:ext cx="365760" cy="365760"/>
              <a:chOff x="6806753" y="2142199"/>
              <a:chExt cx="685804" cy="685804"/>
            </a:xfrm>
          </p:grpSpPr>
          <p:sp>
            <p:nvSpPr>
              <p:cNvPr id="11" name="Freeform 623">
                <a:extLst>
                  <a:ext uri="{FF2B5EF4-FFF2-40B4-BE49-F238E27FC236}">
                    <a16:creationId xmlns:a16="http://schemas.microsoft.com/office/drawing/2014/main" id="{15FD7F61-1750-854A-9E62-FE580DC1D5E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06753" y="2142199"/>
                <a:ext cx="685804" cy="685804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solidFill>
                <a:srgbClr val="36B9E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pic>
            <p:nvPicPr>
              <p:cNvPr id="12" name="Graphic 11" descr="Badge Tick outline">
                <a:extLst>
                  <a:ext uri="{FF2B5EF4-FFF2-40B4-BE49-F238E27FC236}">
                    <a16:creationId xmlns:a16="http://schemas.microsoft.com/office/drawing/2014/main" id="{32933E97-681E-AD44-99AA-4FDAFC6D4F0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6834429" y="2170883"/>
                <a:ext cx="628436" cy="628436"/>
              </a:xfrm>
              <a:prstGeom prst="rect">
                <a:avLst/>
              </a:prstGeom>
            </p:spPr>
          </p:pic>
        </p:grpSp>
      </p:grpSp>
      <p:sp>
        <p:nvSpPr>
          <p:cNvPr id="23" name="Content Placeholder 1">
            <a:extLst>
              <a:ext uri="{FF2B5EF4-FFF2-40B4-BE49-F238E27FC236}">
                <a16:creationId xmlns:a16="http://schemas.microsoft.com/office/drawing/2014/main" id="{BEE15851-939A-1A44-A774-AF03855559D8}"/>
              </a:ext>
            </a:extLst>
          </p:cNvPr>
          <p:cNvSpPr txBox="1">
            <a:spLocks/>
          </p:cNvSpPr>
          <p:nvPr/>
        </p:nvSpPr>
        <p:spPr>
          <a:xfrm>
            <a:off x="464998" y="1676400"/>
            <a:ext cx="2397946" cy="4705351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 spc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spc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spc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spc="0" baseline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spc="0" baseline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he source data is the “Organization” data column from Snowflake INTERIM_DATA_2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he existing data source for the filter is the grouped version of the organization data called “</a:t>
            </a:r>
            <a:r>
              <a:rPr lang="en-US" dirty="0" err="1"/>
              <a:t>Org_Group</a:t>
            </a:r>
            <a:r>
              <a:rPr lang="en-US" dirty="0"/>
              <a:t>”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1" dirty="0"/>
              <a:t>Check “</a:t>
            </a:r>
            <a:r>
              <a:rPr lang="en-US" b="1" dirty="0" err="1"/>
              <a:t>Org_Group</a:t>
            </a:r>
            <a:r>
              <a:rPr lang="en-US" b="1" dirty="0"/>
              <a:t>” for updates and make edits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BF9A7E20-C5DD-2A4A-9E70-AA50A0E9B7BA}"/>
              </a:ext>
            </a:extLst>
          </p:cNvPr>
          <p:cNvSpPr txBox="1">
            <a:spLocks/>
          </p:cNvSpPr>
          <p:nvPr/>
        </p:nvSpPr>
        <p:spPr>
          <a:xfrm>
            <a:off x="469900" y="1127760"/>
            <a:ext cx="2393043" cy="548640"/>
          </a:xfrm>
          <a:prstGeom prst="rect">
            <a:avLst/>
          </a:prstGeom>
          <a:solidFill>
            <a:srgbClr val="7ACAEE"/>
          </a:solidFill>
        </p:spPr>
        <p:txBody>
          <a:bodyPr anchor="ctr"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 spc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spc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spc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spc="0" baseline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spc="0" baseline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/>
              <a:t>Group Organization Names</a:t>
            </a:r>
          </a:p>
        </p:txBody>
      </p:sp>
      <p:pic>
        <p:nvPicPr>
          <p:cNvPr id="26" name="Picture 25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E7F6D757-7BF3-9F47-BFE8-0EA93D8ECA4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988859" y="1151906"/>
            <a:ext cx="2417735" cy="4857008"/>
          </a:xfrm>
          <a:prstGeom prst="rect">
            <a:avLst/>
          </a:prstGeom>
        </p:spPr>
      </p:pic>
      <p:pic>
        <p:nvPicPr>
          <p:cNvPr id="27" name="Picture 26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E6DB466A-7A10-2941-9E96-E398F3D69E2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210300" y="1160813"/>
            <a:ext cx="2202121" cy="3048000"/>
          </a:xfrm>
          <a:prstGeom prst="rect">
            <a:avLst/>
          </a:prstGeom>
        </p:spPr>
      </p:pic>
      <p:pic>
        <p:nvPicPr>
          <p:cNvPr id="28" name="Picture 27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D1297E17-AB62-AF42-B5C3-BBD43824CFE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865108" y="1151906"/>
            <a:ext cx="2216998" cy="3063834"/>
          </a:xfrm>
          <a:prstGeom prst="rect">
            <a:avLst/>
          </a:prstGeom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58BDCB89-232D-0147-906D-4CE29C005AC2}"/>
              </a:ext>
            </a:extLst>
          </p:cNvPr>
          <p:cNvSpPr txBox="1"/>
          <p:nvPr/>
        </p:nvSpPr>
        <p:spPr>
          <a:xfrm>
            <a:off x="3099461" y="6051076"/>
            <a:ext cx="2196935" cy="3847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1000" dirty="0">
                <a:solidFill>
                  <a:srgbClr val="31313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ocate ”Org Group” data dimension.</a:t>
            </a:r>
          </a:p>
          <a:p>
            <a:pPr>
              <a:spcBef>
                <a:spcPts val="600"/>
              </a:spcBef>
              <a:buSzPct val="100000"/>
            </a:pPr>
            <a:r>
              <a:rPr lang="en-US" sz="1000" dirty="0">
                <a:solidFill>
                  <a:srgbClr val="31313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ight click “Edit Group”.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87E141C7-72AB-6A47-9C0E-E9B0490CB584}"/>
              </a:ext>
            </a:extLst>
          </p:cNvPr>
          <p:cNvSpPr txBox="1"/>
          <p:nvPr/>
        </p:nvSpPr>
        <p:spPr>
          <a:xfrm>
            <a:off x="6210300" y="4269777"/>
            <a:ext cx="2196935" cy="7694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1000" dirty="0">
                <a:solidFill>
                  <a:srgbClr val="31313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elect items to group.</a:t>
            </a:r>
          </a:p>
          <a:p>
            <a:pPr>
              <a:spcBef>
                <a:spcPts val="600"/>
              </a:spcBef>
              <a:buSzPct val="100000"/>
            </a:pPr>
            <a:r>
              <a:rPr lang="en-US" sz="1000" dirty="0">
                <a:solidFill>
                  <a:srgbClr val="31313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lick the ”Group” button.</a:t>
            </a:r>
          </a:p>
          <a:p>
            <a:pPr>
              <a:spcBef>
                <a:spcPts val="600"/>
              </a:spcBef>
              <a:buSzPct val="100000"/>
            </a:pPr>
            <a:r>
              <a:rPr lang="en-US" sz="1000" i="1" dirty="0">
                <a:solidFill>
                  <a:srgbClr val="31313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tems can be ungrouped or dragged to move between groups.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96C3A6F-CA6C-EC41-A6DF-A013494906B6}"/>
              </a:ext>
            </a:extLst>
          </p:cNvPr>
          <p:cNvSpPr txBox="1"/>
          <p:nvPr/>
        </p:nvSpPr>
        <p:spPr>
          <a:xfrm>
            <a:off x="8839200" y="4269777"/>
            <a:ext cx="2196935" cy="7694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1000" dirty="0">
                <a:solidFill>
                  <a:srgbClr val="31313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name group label.</a:t>
            </a:r>
          </a:p>
          <a:p>
            <a:pPr>
              <a:spcBef>
                <a:spcPts val="600"/>
              </a:spcBef>
              <a:buSzPct val="100000"/>
            </a:pPr>
            <a:r>
              <a:rPr lang="en-US" sz="1000" dirty="0">
                <a:solidFill>
                  <a:srgbClr val="31313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his will be the label that appears as an option in the dropdown menu.</a:t>
            </a:r>
          </a:p>
          <a:p>
            <a:pPr>
              <a:spcBef>
                <a:spcPts val="600"/>
              </a:spcBef>
              <a:buSzPct val="100000"/>
            </a:pPr>
            <a:r>
              <a:rPr lang="en-US" sz="1000" dirty="0">
                <a:solidFill>
                  <a:srgbClr val="31313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lick ”OK” when finished.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15A8AF4C-66C1-EE41-B0E2-BA88E19FD5C0}"/>
              </a:ext>
            </a:extLst>
          </p:cNvPr>
          <p:cNvSpPr txBox="1"/>
          <p:nvPr/>
        </p:nvSpPr>
        <p:spPr>
          <a:xfrm>
            <a:off x="8802231" y="298135"/>
            <a:ext cx="1312860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200" b="1" dirty="0">
                <a:solidFill>
                  <a:srgbClr val="C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RITICAL ACTION</a:t>
            </a:r>
          </a:p>
        </p:txBody>
      </p:sp>
    </p:spTree>
    <p:extLst>
      <p:ext uri="{BB962C8B-B14F-4D97-AF65-F5344CB8AC3E}">
        <p14:creationId xmlns:p14="http://schemas.microsoft.com/office/powerpoint/2010/main" val="2427878087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5DAED6B1-6292-6247-980F-02C1909970F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9900" y="736689"/>
            <a:ext cx="11252200" cy="283090"/>
          </a:xfrm>
        </p:spPr>
        <p:txBody>
          <a:bodyPr/>
          <a:lstStyle/>
          <a:p>
            <a:r>
              <a:rPr lang="en-US" sz="1200" dirty="0"/>
              <a:t>Organization name display on dashboards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3EC109-DCC4-D84A-96DD-9E1DD06C1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3563"/>
          </a:xfrm>
        </p:spPr>
        <p:txBody>
          <a:bodyPr/>
          <a:lstStyle/>
          <a:p>
            <a:r>
              <a:rPr lang="en-US" b="1" dirty="0"/>
              <a:t>Filters | </a:t>
            </a:r>
            <a:r>
              <a:rPr lang="en-US" dirty="0"/>
              <a:t>Organizations Names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E6DFAAE-C9C6-9D46-B795-9BC79C578A16}"/>
              </a:ext>
            </a:extLst>
          </p:cNvPr>
          <p:cNvGrpSpPr/>
          <p:nvPr/>
        </p:nvGrpSpPr>
        <p:grpSpPr>
          <a:xfrm>
            <a:off x="10272038" y="173150"/>
            <a:ext cx="1632640" cy="366837"/>
            <a:chOff x="10272038" y="173150"/>
            <a:chExt cx="1632640" cy="366837"/>
          </a:xfrm>
        </p:grpSpPr>
        <p:grpSp>
          <p:nvGrpSpPr>
            <p:cNvPr id="7" name="Group 53">
              <a:extLst>
                <a:ext uri="{FF2B5EF4-FFF2-40B4-BE49-F238E27FC236}">
                  <a16:creationId xmlns:a16="http://schemas.microsoft.com/office/drawing/2014/main" id="{6C2C28C1-636A-1340-B840-A66A9F1DF6AB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0272038" y="173150"/>
              <a:ext cx="365760" cy="366837"/>
              <a:chOff x="5183" y="1046"/>
              <a:chExt cx="340" cy="341"/>
            </a:xfrm>
            <a:solidFill>
              <a:schemeClr val="bg1">
                <a:lumMod val="75000"/>
              </a:schemeClr>
            </a:solidFill>
          </p:grpSpPr>
          <p:sp>
            <p:nvSpPr>
              <p:cNvPr id="17" name="Freeform 54">
                <a:extLst>
                  <a:ext uri="{FF2B5EF4-FFF2-40B4-BE49-F238E27FC236}">
                    <a16:creationId xmlns:a16="http://schemas.microsoft.com/office/drawing/2014/main" id="{B3E3306A-20E7-4246-B14C-099787069D1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47" y="1110"/>
                <a:ext cx="212" cy="213"/>
              </a:xfrm>
              <a:custGeom>
                <a:avLst/>
                <a:gdLst>
                  <a:gd name="T0" fmla="*/ 160 w 320"/>
                  <a:gd name="T1" fmla="*/ 0 h 320"/>
                  <a:gd name="T2" fmla="*/ 0 w 320"/>
                  <a:gd name="T3" fmla="*/ 160 h 320"/>
                  <a:gd name="T4" fmla="*/ 160 w 320"/>
                  <a:gd name="T5" fmla="*/ 320 h 320"/>
                  <a:gd name="T6" fmla="*/ 320 w 320"/>
                  <a:gd name="T7" fmla="*/ 160 h 320"/>
                  <a:gd name="T8" fmla="*/ 160 w 320"/>
                  <a:gd name="T9" fmla="*/ 0 h 320"/>
                  <a:gd name="T10" fmla="*/ 283 w 320"/>
                  <a:gd name="T11" fmla="*/ 224 h 320"/>
                  <a:gd name="T12" fmla="*/ 218 w 320"/>
                  <a:gd name="T13" fmla="*/ 224 h 320"/>
                  <a:gd name="T14" fmla="*/ 223 w 320"/>
                  <a:gd name="T15" fmla="*/ 170 h 320"/>
                  <a:gd name="T16" fmla="*/ 298 w 320"/>
                  <a:gd name="T17" fmla="*/ 170 h 320"/>
                  <a:gd name="T18" fmla="*/ 283 w 320"/>
                  <a:gd name="T19" fmla="*/ 224 h 320"/>
                  <a:gd name="T20" fmla="*/ 160 w 320"/>
                  <a:gd name="T21" fmla="*/ 298 h 320"/>
                  <a:gd name="T22" fmla="*/ 127 w 320"/>
                  <a:gd name="T23" fmla="*/ 245 h 320"/>
                  <a:gd name="T24" fmla="*/ 192 w 320"/>
                  <a:gd name="T25" fmla="*/ 245 h 320"/>
                  <a:gd name="T26" fmla="*/ 160 w 320"/>
                  <a:gd name="T27" fmla="*/ 298 h 320"/>
                  <a:gd name="T28" fmla="*/ 122 w 320"/>
                  <a:gd name="T29" fmla="*/ 224 h 320"/>
                  <a:gd name="T30" fmla="*/ 117 w 320"/>
                  <a:gd name="T31" fmla="*/ 170 h 320"/>
                  <a:gd name="T32" fmla="*/ 202 w 320"/>
                  <a:gd name="T33" fmla="*/ 170 h 320"/>
                  <a:gd name="T34" fmla="*/ 197 w 320"/>
                  <a:gd name="T35" fmla="*/ 224 h 320"/>
                  <a:gd name="T36" fmla="*/ 122 w 320"/>
                  <a:gd name="T37" fmla="*/ 224 h 320"/>
                  <a:gd name="T38" fmla="*/ 22 w 320"/>
                  <a:gd name="T39" fmla="*/ 170 h 320"/>
                  <a:gd name="T40" fmla="*/ 96 w 320"/>
                  <a:gd name="T41" fmla="*/ 170 h 320"/>
                  <a:gd name="T42" fmla="*/ 101 w 320"/>
                  <a:gd name="T43" fmla="*/ 224 h 320"/>
                  <a:gd name="T44" fmla="*/ 37 w 320"/>
                  <a:gd name="T45" fmla="*/ 224 h 320"/>
                  <a:gd name="T46" fmla="*/ 22 w 320"/>
                  <a:gd name="T47" fmla="*/ 170 h 320"/>
                  <a:gd name="T48" fmla="*/ 37 w 320"/>
                  <a:gd name="T49" fmla="*/ 96 h 320"/>
                  <a:gd name="T50" fmla="*/ 101 w 320"/>
                  <a:gd name="T51" fmla="*/ 96 h 320"/>
                  <a:gd name="T52" fmla="*/ 96 w 320"/>
                  <a:gd name="T53" fmla="*/ 149 h 320"/>
                  <a:gd name="T54" fmla="*/ 22 w 320"/>
                  <a:gd name="T55" fmla="*/ 149 h 320"/>
                  <a:gd name="T56" fmla="*/ 37 w 320"/>
                  <a:gd name="T57" fmla="*/ 96 h 320"/>
                  <a:gd name="T58" fmla="*/ 160 w 320"/>
                  <a:gd name="T59" fmla="*/ 21 h 320"/>
                  <a:gd name="T60" fmla="*/ 192 w 320"/>
                  <a:gd name="T61" fmla="*/ 74 h 320"/>
                  <a:gd name="T62" fmla="*/ 127 w 320"/>
                  <a:gd name="T63" fmla="*/ 74 h 320"/>
                  <a:gd name="T64" fmla="*/ 160 w 320"/>
                  <a:gd name="T65" fmla="*/ 21 h 320"/>
                  <a:gd name="T66" fmla="*/ 197 w 320"/>
                  <a:gd name="T67" fmla="*/ 96 h 320"/>
                  <a:gd name="T68" fmla="*/ 202 w 320"/>
                  <a:gd name="T69" fmla="*/ 149 h 320"/>
                  <a:gd name="T70" fmla="*/ 117 w 320"/>
                  <a:gd name="T71" fmla="*/ 149 h 320"/>
                  <a:gd name="T72" fmla="*/ 122 w 320"/>
                  <a:gd name="T73" fmla="*/ 96 h 320"/>
                  <a:gd name="T74" fmla="*/ 197 w 320"/>
                  <a:gd name="T75" fmla="*/ 96 h 320"/>
                  <a:gd name="T76" fmla="*/ 223 w 320"/>
                  <a:gd name="T77" fmla="*/ 149 h 320"/>
                  <a:gd name="T78" fmla="*/ 218 w 320"/>
                  <a:gd name="T79" fmla="*/ 96 h 320"/>
                  <a:gd name="T80" fmla="*/ 283 w 320"/>
                  <a:gd name="T81" fmla="*/ 96 h 320"/>
                  <a:gd name="T82" fmla="*/ 298 w 320"/>
                  <a:gd name="T83" fmla="*/ 149 h 320"/>
                  <a:gd name="T84" fmla="*/ 223 w 320"/>
                  <a:gd name="T85" fmla="*/ 149 h 320"/>
                  <a:gd name="T86" fmla="*/ 269 w 320"/>
                  <a:gd name="T87" fmla="*/ 74 h 320"/>
                  <a:gd name="T88" fmla="*/ 214 w 320"/>
                  <a:gd name="T89" fmla="*/ 74 h 320"/>
                  <a:gd name="T90" fmla="*/ 196 w 320"/>
                  <a:gd name="T91" fmla="*/ 26 h 320"/>
                  <a:gd name="T92" fmla="*/ 269 w 320"/>
                  <a:gd name="T93" fmla="*/ 74 h 320"/>
                  <a:gd name="T94" fmla="*/ 124 w 320"/>
                  <a:gd name="T95" fmla="*/ 26 h 320"/>
                  <a:gd name="T96" fmla="*/ 105 w 320"/>
                  <a:gd name="T97" fmla="*/ 74 h 320"/>
                  <a:gd name="T98" fmla="*/ 51 w 320"/>
                  <a:gd name="T99" fmla="*/ 74 h 320"/>
                  <a:gd name="T100" fmla="*/ 124 w 320"/>
                  <a:gd name="T101" fmla="*/ 26 h 320"/>
                  <a:gd name="T102" fmla="*/ 51 w 320"/>
                  <a:gd name="T103" fmla="*/ 245 h 320"/>
                  <a:gd name="T104" fmla="*/ 105 w 320"/>
                  <a:gd name="T105" fmla="*/ 245 h 320"/>
                  <a:gd name="T106" fmla="*/ 124 w 320"/>
                  <a:gd name="T107" fmla="*/ 293 h 320"/>
                  <a:gd name="T108" fmla="*/ 51 w 320"/>
                  <a:gd name="T109" fmla="*/ 245 h 320"/>
                  <a:gd name="T110" fmla="*/ 196 w 320"/>
                  <a:gd name="T111" fmla="*/ 293 h 320"/>
                  <a:gd name="T112" fmla="*/ 214 w 320"/>
                  <a:gd name="T113" fmla="*/ 245 h 320"/>
                  <a:gd name="T114" fmla="*/ 269 w 320"/>
                  <a:gd name="T115" fmla="*/ 245 h 320"/>
                  <a:gd name="T116" fmla="*/ 196 w 320"/>
                  <a:gd name="T117" fmla="*/ 293 h 3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320" h="320">
                    <a:moveTo>
                      <a:pt x="160" y="0"/>
                    </a:moveTo>
                    <a:cubicBezTo>
                      <a:pt x="71" y="0"/>
                      <a:pt x="0" y="71"/>
                      <a:pt x="0" y="160"/>
                    </a:cubicBezTo>
                    <a:cubicBezTo>
                      <a:pt x="0" y="248"/>
                      <a:pt x="71" y="320"/>
                      <a:pt x="160" y="320"/>
                    </a:cubicBezTo>
                    <a:cubicBezTo>
                      <a:pt x="248" y="320"/>
                      <a:pt x="320" y="248"/>
                      <a:pt x="320" y="160"/>
                    </a:cubicBezTo>
                    <a:cubicBezTo>
                      <a:pt x="320" y="71"/>
                      <a:pt x="248" y="0"/>
                      <a:pt x="160" y="0"/>
                    </a:cubicBezTo>
                    <a:close/>
                    <a:moveTo>
                      <a:pt x="283" y="224"/>
                    </a:moveTo>
                    <a:cubicBezTo>
                      <a:pt x="218" y="224"/>
                      <a:pt x="218" y="224"/>
                      <a:pt x="218" y="224"/>
                    </a:cubicBezTo>
                    <a:cubicBezTo>
                      <a:pt x="221" y="207"/>
                      <a:pt x="223" y="188"/>
                      <a:pt x="223" y="170"/>
                    </a:cubicBezTo>
                    <a:cubicBezTo>
                      <a:pt x="298" y="170"/>
                      <a:pt x="298" y="170"/>
                      <a:pt x="298" y="170"/>
                    </a:cubicBezTo>
                    <a:cubicBezTo>
                      <a:pt x="296" y="189"/>
                      <a:pt x="291" y="207"/>
                      <a:pt x="283" y="224"/>
                    </a:cubicBezTo>
                    <a:close/>
                    <a:moveTo>
                      <a:pt x="160" y="298"/>
                    </a:moveTo>
                    <a:cubicBezTo>
                      <a:pt x="149" y="298"/>
                      <a:pt x="136" y="279"/>
                      <a:pt x="127" y="245"/>
                    </a:cubicBezTo>
                    <a:cubicBezTo>
                      <a:pt x="192" y="245"/>
                      <a:pt x="192" y="245"/>
                      <a:pt x="192" y="245"/>
                    </a:cubicBezTo>
                    <a:cubicBezTo>
                      <a:pt x="183" y="279"/>
                      <a:pt x="170" y="298"/>
                      <a:pt x="160" y="298"/>
                    </a:cubicBezTo>
                    <a:close/>
                    <a:moveTo>
                      <a:pt x="122" y="224"/>
                    </a:moveTo>
                    <a:cubicBezTo>
                      <a:pt x="120" y="208"/>
                      <a:pt x="118" y="190"/>
                      <a:pt x="117" y="170"/>
                    </a:cubicBezTo>
                    <a:cubicBezTo>
                      <a:pt x="202" y="170"/>
                      <a:pt x="202" y="170"/>
                      <a:pt x="202" y="170"/>
                    </a:cubicBezTo>
                    <a:cubicBezTo>
                      <a:pt x="202" y="190"/>
                      <a:pt x="200" y="208"/>
                      <a:pt x="197" y="224"/>
                    </a:cubicBezTo>
                    <a:lnTo>
                      <a:pt x="122" y="224"/>
                    </a:lnTo>
                    <a:close/>
                    <a:moveTo>
                      <a:pt x="22" y="170"/>
                    </a:moveTo>
                    <a:cubicBezTo>
                      <a:pt x="96" y="170"/>
                      <a:pt x="96" y="170"/>
                      <a:pt x="96" y="170"/>
                    </a:cubicBezTo>
                    <a:cubicBezTo>
                      <a:pt x="96" y="188"/>
                      <a:pt x="98" y="207"/>
                      <a:pt x="101" y="224"/>
                    </a:cubicBezTo>
                    <a:cubicBezTo>
                      <a:pt x="37" y="224"/>
                      <a:pt x="37" y="224"/>
                      <a:pt x="37" y="224"/>
                    </a:cubicBezTo>
                    <a:cubicBezTo>
                      <a:pt x="28" y="207"/>
                      <a:pt x="23" y="189"/>
                      <a:pt x="22" y="170"/>
                    </a:cubicBezTo>
                    <a:close/>
                    <a:moveTo>
                      <a:pt x="37" y="96"/>
                    </a:moveTo>
                    <a:cubicBezTo>
                      <a:pt x="101" y="96"/>
                      <a:pt x="101" y="96"/>
                      <a:pt x="101" y="96"/>
                    </a:cubicBezTo>
                    <a:cubicBezTo>
                      <a:pt x="98" y="113"/>
                      <a:pt x="96" y="131"/>
                      <a:pt x="96" y="149"/>
                    </a:cubicBezTo>
                    <a:cubicBezTo>
                      <a:pt x="22" y="149"/>
                      <a:pt x="22" y="149"/>
                      <a:pt x="22" y="149"/>
                    </a:cubicBezTo>
                    <a:cubicBezTo>
                      <a:pt x="23" y="130"/>
                      <a:pt x="28" y="112"/>
                      <a:pt x="37" y="96"/>
                    </a:cubicBezTo>
                    <a:close/>
                    <a:moveTo>
                      <a:pt x="160" y="21"/>
                    </a:moveTo>
                    <a:cubicBezTo>
                      <a:pt x="170" y="21"/>
                      <a:pt x="183" y="41"/>
                      <a:pt x="192" y="74"/>
                    </a:cubicBezTo>
                    <a:cubicBezTo>
                      <a:pt x="127" y="74"/>
                      <a:pt x="127" y="74"/>
                      <a:pt x="127" y="74"/>
                    </a:cubicBezTo>
                    <a:cubicBezTo>
                      <a:pt x="136" y="41"/>
                      <a:pt x="149" y="21"/>
                      <a:pt x="160" y="21"/>
                    </a:cubicBezTo>
                    <a:close/>
                    <a:moveTo>
                      <a:pt x="197" y="96"/>
                    </a:moveTo>
                    <a:cubicBezTo>
                      <a:pt x="200" y="111"/>
                      <a:pt x="202" y="129"/>
                      <a:pt x="202" y="149"/>
                    </a:cubicBezTo>
                    <a:cubicBezTo>
                      <a:pt x="117" y="149"/>
                      <a:pt x="117" y="149"/>
                      <a:pt x="117" y="149"/>
                    </a:cubicBezTo>
                    <a:cubicBezTo>
                      <a:pt x="118" y="129"/>
                      <a:pt x="120" y="111"/>
                      <a:pt x="122" y="96"/>
                    </a:cubicBezTo>
                    <a:lnTo>
                      <a:pt x="197" y="96"/>
                    </a:lnTo>
                    <a:close/>
                    <a:moveTo>
                      <a:pt x="223" y="149"/>
                    </a:moveTo>
                    <a:cubicBezTo>
                      <a:pt x="223" y="131"/>
                      <a:pt x="221" y="113"/>
                      <a:pt x="218" y="96"/>
                    </a:cubicBezTo>
                    <a:cubicBezTo>
                      <a:pt x="283" y="96"/>
                      <a:pt x="283" y="96"/>
                      <a:pt x="283" y="96"/>
                    </a:cubicBezTo>
                    <a:cubicBezTo>
                      <a:pt x="291" y="112"/>
                      <a:pt x="296" y="130"/>
                      <a:pt x="298" y="149"/>
                    </a:cubicBezTo>
                    <a:lnTo>
                      <a:pt x="223" y="149"/>
                    </a:lnTo>
                    <a:close/>
                    <a:moveTo>
                      <a:pt x="269" y="74"/>
                    </a:moveTo>
                    <a:cubicBezTo>
                      <a:pt x="214" y="74"/>
                      <a:pt x="214" y="74"/>
                      <a:pt x="214" y="74"/>
                    </a:cubicBezTo>
                    <a:cubicBezTo>
                      <a:pt x="210" y="55"/>
                      <a:pt x="203" y="39"/>
                      <a:pt x="196" y="26"/>
                    </a:cubicBezTo>
                    <a:cubicBezTo>
                      <a:pt x="225" y="34"/>
                      <a:pt x="251" y="51"/>
                      <a:pt x="269" y="74"/>
                    </a:cubicBezTo>
                    <a:close/>
                    <a:moveTo>
                      <a:pt x="124" y="26"/>
                    </a:moveTo>
                    <a:cubicBezTo>
                      <a:pt x="116" y="39"/>
                      <a:pt x="110" y="55"/>
                      <a:pt x="105" y="74"/>
                    </a:cubicBezTo>
                    <a:cubicBezTo>
                      <a:pt x="51" y="74"/>
                      <a:pt x="51" y="74"/>
                      <a:pt x="51" y="74"/>
                    </a:cubicBezTo>
                    <a:cubicBezTo>
                      <a:pt x="69" y="51"/>
                      <a:pt x="94" y="34"/>
                      <a:pt x="124" y="26"/>
                    </a:cubicBezTo>
                    <a:close/>
                    <a:moveTo>
                      <a:pt x="51" y="245"/>
                    </a:moveTo>
                    <a:cubicBezTo>
                      <a:pt x="105" y="245"/>
                      <a:pt x="105" y="245"/>
                      <a:pt x="105" y="245"/>
                    </a:cubicBezTo>
                    <a:cubicBezTo>
                      <a:pt x="110" y="264"/>
                      <a:pt x="116" y="281"/>
                      <a:pt x="124" y="293"/>
                    </a:cubicBezTo>
                    <a:cubicBezTo>
                      <a:pt x="94" y="285"/>
                      <a:pt x="69" y="268"/>
                      <a:pt x="51" y="245"/>
                    </a:cubicBezTo>
                    <a:close/>
                    <a:moveTo>
                      <a:pt x="196" y="293"/>
                    </a:moveTo>
                    <a:cubicBezTo>
                      <a:pt x="203" y="281"/>
                      <a:pt x="210" y="264"/>
                      <a:pt x="214" y="245"/>
                    </a:cubicBezTo>
                    <a:cubicBezTo>
                      <a:pt x="269" y="245"/>
                      <a:pt x="269" y="245"/>
                      <a:pt x="269" y="245"/>
                    </a:cubicBezTo>
                    <a:cubicBezTo>
                      <a:pt x="251" y="268"/>
                      <a:pt x="225" y="285"/>
                      <a:pt x="196" y="29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" name="Freeform 55">
                <a:extLst>
                  <a:ext uri="{FF2B5EF4-FFF2-40B4-BE49-F238E27FC236}">
                    <a16:creationId xmlns:a16="http://schemas.microsoft.com/office/drawing/2014/main" id="{C6023F7A-281F-C844-BA27-C60AACC50B4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83" y="1046"/>
                <a:ext cx="340" cy="341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A6030B49-ABBA-714D-8A34-EC40E7E014FC}"/>
                </a:ext>
              </a:extLst>
            </p:cNvPr>
            <p:cNvGrpSpPr/>
            <p:nvPr/>
          </p:nvGrpSpPr>
          <p:grpSpPr>
            <a:xfrm>
              <a:off x="11116624" y="173688"/>
              <a:ext cx="365760" cy="365760"/>
              <a:chOff x="6806797" y="2076826"/>
              <a:chExt cx="685804" cy="685804"/>
            </a:xfrm>
            <a:solidFill>
              <a:schemeClr val="bg1">
                <a:lumMod val="75000"/>
              </a:schemeClr>
            </a:solidFill>
          </p:grpSpPr>
          <p:sp>
            <p:nvSpPr>
              <p:cNvPr id="15" name="Freeform 623">
                <a:extLst>
                  <a:ext uri="{FF2B5EF4-FFF2-40B4-BE49-F238E27FC236}">
                    <a16:creationId xmlns:a16="http://schemas.microsoft.com/office/drawing/2014/main" id="{A4FD5118-54E1-AB45-A285-8EC74B0C2A0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06797" y="2076826"/>
                <a:ext cx="685804" cy="685804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pic>
            <p:nvPicPr>
              <p:cNvPr id="16" name="Graphic 15" descr="Target">
                <a:extLst>
                  <a:ext uri="{FF2B5EF4-FFF2-40B4-BE49-F238E27FC236}">
                    <a16:creationId xmlns:a16="http://schemas.microsoft.com/office/drawing/2014/main" id="{F49CF584-F4A5-1646-8AF3-B500F507B81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6852519" y="2122548"/>
                <a:ext cx="594360" cy="594360"/>
              </a:xfrm>
              <a:prstGeom prst="rect">
                <a:avLst/>
              </a:prstGeom>
            </p:spPr>
          </p:pic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7F71AAC5-B834-D242-BB6F-8A482CE61E94}"/>
                </a:ext>
              </a:extLst>
            </p:cNvPr>
            <p:cNvGrpSpPr/>
            <p:nvPr/>
          </p:nvGrpSpPr>
          <p:grpSpPr>
            <a:xfrm>
              <a:off x="11538918" y="173688"/>
              <a:ext cx="365760" cy="365760"/>
              <a:chOff x="6806753" y="3091011"/>
              <a:chExt cx="685800" cy="685800"/>
            </a:xfrm>
            <a:solidFill>
              <a:schemeClr val="bg1">
                <a:lumMod val="75000"/>
              </a:schemeClr>
            </a:solidFill>
          </p:grpSpPr>
          <p:sp>
            <p:nvSpPr>
              <p:cNvPr id="13" name="Freeform 727">
                <a:extLst>
                  <a:ext uri="{FF2B5EF4-FFF2-40B4-BE49-F238E27FC236}">
                    <a16:creationId xmlns:a16="http://schemas.microsoft.com/office/drawing/2014/main" id="{EB066332-9C45-C14B-878C-C484243F361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06753" y="3091011"/>
                <a:ext cx="685800" cy="685800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pic>
            <p:nvPicPr>
              <p:cNvPr id="14" name="Graphic 13" descr="Head with gears">
                <a:extLst>
                  <a:ext uri="{FF2B5EF4-FFF2-40B4-BE49-F238E27FC236}">
                    <a16:creationId xmlns:a16="http://schemas.microsoft.com/office/drawing/2014/main" id="{4B6CB2A0-BC97-DA40-A5FE-F028EA0A512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6932592" y="3216850"/>
                <a:ext cx="434123" cy="434123"/>
              </a:xfrm>
              <a:prstGeom prst="rect">
                <a:avLst/>
              </a:prstGeom>
            </p:spPr>
          </p:pic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BF1345B2-7AD3-6A47-B893-68DE43D819F9}"/>
                </a:ext>
              </a:extLst>
            </p:cNvPr>
            <p:cNvGrpSpPr/>
            <p:nvPr/>
          </p:nvGrpSpPr>
          <p:grpSpPr>
            <a:xfrm>
              <a:off x="10694331" y="173688"/>
              <a:ext cx="365760" cy="365760"/>
              <a:chOff x="6806753" y="2142199"/>
              <a:chExt cx="685804" cy="685804"/>
            </a:xfrm>
          </p:grpSpPr>
          <p:sp>
            <p:nvSpPr>
              <p:cNvPr id="11" name="Freeform 623">
                <a:extLst>
                  <a:ext uri="{FF2B5EF4-FFF2-40B4-BE49-F238E27FC236}">
                    <a16:creationId xmlns:a16="http://schemas.microsoft.com/office/drawing/2014/main" id="{15FD7F61-1750-854A-9E62-FE580DC1D5E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06753" y="2142199"/>
                <a:ext cx="685804" cy="685804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solidFill>
                <a:srgbClr val="36B9EE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pic>
            <p:nvPicPr>
              <p:cNvPr id="12" name="Graphic 11" descr="Badge Tick outline">
                <a:extLst>
                  <a:ext uri="{FF2B5EF4-FFF2-40B4-BE49-F238E27FC236}">
                    <a16:creationId xmlns:a16="http://schemas.microsoft.com/office/drawing/2014/main" id="{32933E97-681E-AD44-99AA-4FDAFC6D4F0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6834429" y="2170883"/>
                <a:ext cx="628436" cy="628436"/>
              </a:xfrm>
              <a:prstGeom prst="rect">
                <a:avLst/>
              </a:prstGeom>
            </p:spPr>
          </p:pic>
        </p:grpSp>
      </p:grpSp>
      <p:sp>
        <p:nvSpPr>
          <p:cNvPr id="23" name="Content Placeholder 1">
            <a:extLst>
              <a:ext uri="{FF2B5EF4-FFF2-40B4-BE49-F238E27FC236}">
                <a16:creationId xmlns:a16="http://schemas.microsoft.com/office/drawing/2014/main" id="{BEE15851-939A-1A44-A774-AF03855559D8}"/>
              </a:ext>
            </a:extLst>
          </p:cNvPr>
          <p:cNvSpPr txBox="1">
            <a:spLocks/>
          </p:cNvSpPr>
          <p:nvPr/>
        </p:nvSpPr>
        <p:spPr>
          <a:xfrm>
            <a:off x="464998" y="1676400"/>
            <a:ext cx="2397946" cy="4705351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 spc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spc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spc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spc="0" baseline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spc="0" baseline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In order to properly display the ”Report Prepared for: …” text at the top of each dashboard, use the “</a:t>
            </a:r>
            <a:r>
              <a:rPr lang="en-US" dirty="0" err="1"/>
              <a:t>Org_Group_Desc</a:t>
            </a:r>
            <a:r>
              <a:rPr lang="en-US" dirty="0"/>
              <a:t>” calculation in the body text of the ”</a:t>
            </a:r>
            <a:r>
              <a:rPr lang="en-US" dirty="0" err="1"/>
              <a:t>ReportFor</a:t>
            </a:r>
            <a:r>
              <a:rPr lang="en-US" dirty="0"/>
              <a:t>” sheet. (Otherwise multiple lines of text will appear when “(All)” is selected from the Organization dropdown menu.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i="1" dirty="0"/>
              <a:t>The “</a:t>
            </a:r>
            <a:r>
              <a:rPr lang="en-US" i="1" dirty="0" err="1"/>
              <a:t>Org_Group_Desc</a:t>
            </a:r>
            <a:r>
              <a:rPr lang="en-US" i="1" dirty="0"/>
              <a:t>” calculation uses the ”</a:t>
            </a:r>
            <a:r>
              <a:rPr lang="en-US" i="1" dirty="0" err="1"/>
              <a:t>Org_Group</a:t>
            </a:r>
            <a:r>
              <a:rPr lang="en-US" i="1" dirty="0"/>
              <a:t>” function for organization name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BF9A7E20-C5DD-2A4A-9E70-AA50A0E9B7BA}"/>
              </a:ext>
            </a:extLst>
          </p:cNvPr>
          <p:cNvSpPr txBox="1">
            <a:spLocks/>
          </p:cNvSpPr>
          <p:nvPr/>
        </p:nvSpPr>
        <p:spPr>
          <a:xfrm>
            <a:off x="469900" y="1127760"/>
            <a:ext cx="2393043" cy="548640"/>
          </a:xfrm>
          <a:prstGeom prst="rect">
            <a:avLst/>
          </a:prstGeom>
          <a:solidFill>
            <a:srgbClr val="7ACAEE"/>
          </a:solidFill>
        </p:spPr>
        <p:txBody>
          <a:bodyPr anchor="ctr"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 spc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spc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spc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spc="0" baseline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spc="0" baseline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/>
              <a:t>Change Data Source</a:t>
            </a:r>
          </a:p>
        </p:txBody>
      </p:sp>
      <p:pic>
        <p:nvPicPr>
          <p:cNvPr id="5" name="Picture 4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2BE1145E-8725-AB44-9CDB-D30A3EE0B69F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920"/>
          <a:stretch/>
        </p:blipFill>
        <p:spPr>
          <a:xfrm>
            <a:off x="3111365" y="2575034"/>
            <a:ext cx="5177437" cy="3798834"/>
          </a:xfrm>
          <a:prstGeom prst="rect">
            <a:avLst/>
          </a:prstGeom>
          <a:ln>
            <a:solidFill>
              <a:schemeClr val="bg2"/>
            </a:solidFill>
          </a:ln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6D37FCF3-70A6-2E49-B88F-8DF44E1D08D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1365" y="1127760"/>
            <a:ext cx="8187559" cy="859153"/>
          </a:xfrm>
          <a:prstGeom prst="rect">
            <a:avLst/>
          </a:prstGeom>
          <a:ln>
            <a:solidFill>
              <a:schemeClr val="bg2"/>
            </a:solidFill>
          </a:ln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BAE4B666-494A-244A-ACE7-15C22398AF8F}"/>
              </a:ext>
            </a:extLst>
          </p:cNvPr>
          <p:cNvSpPr txBox="1"/>
          <p:nvPr/>
        </p:nvSpPr>
        <p:spPr>
          <a:xfrm>
            <a:off x="3111365" y="2043755"/>
            <a:ext cx="2196935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1000" dirty="0">
                <a:solidFill>
                  <a:srgbClr val="31313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How the organization name appears at the top of Dashboards 2, 3 and 4.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C651146-A1AA-C14E-A50B-98BFC064AEE9}"/>
              </a:ext>
            </a:extLst>
          </p:cNvPr>
          <p:cNvSpPr txBox="1"/>
          <p:nvPr/>
        </p:nvSpPr>
        <p:spPr>
          <a:xfrm>
            <a:off x="8372014" y="6073974"/>
            <a:ext cx="2196935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1000" dirty="0">
                <a:solidFill>
                  <a:srgbClr val="31313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alculation used to display organization name.</a:t>
            </a:r>
          </a:p>
        </p:txBody>
      </p:sp>
    </p:spTree>
    <p:extLst>
      <p:ext uri="{BB962C8B-B14F-4D97-AF65-F5344CB8AC3E}">
        <p14:creationId xmlns:p14="http://schemas.microsoft.com/office/powerpoint/2010/main" val="21961022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7016D6-71EF-470F-BD75-3B45D1854D43}"/>
              </a:ext>
            </a:extLst>
          </p:cNvPr>
          <p:cNvSpPr/>
          <p:nvPr/>
        </p:nvSpPr>
        <p:spPr>
          <a:xfrm>
            <a:off x="0" y="-1"/>
            <a:ext cx="12192000" cy="6857999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Open Sans" panose="020B0606030504020204" pitchFamily="34" charset="0"/>
            </a:endParaRPr>
          </a:p>
        </p:txBody>
      </p:sp>
      <p:pic>
        <p:nvPicPr>
          <p:cNvPr id="6" name="Picture Placeholder 5" descr="A picture containing web&#10;&#10;Description automatically generated">
            <a:extLst>
              <a:ext uri="{FF2B5EF4-FFF2-40B4-BE49-F238E27FC236}">
                <a16:creationId xmlns:a16="http://schemas.microsoft.com/office/drawing/2014/main" id="{1C83148D-F3C0-43CB-8419-C4A77366E9E2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3">
            <a:duotone>
              <a:prstClr val="black"/>
              <a:srgbClr val="13A2DE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51" t="2549" r="11250" b="2549"/>
          <a:stretch/>
        </p:blipFill>
        <p:spPr>
          <a:xfrm>
            <a:off x="2769337" y="641875"/>
            <a:ext cx="8819768" cy="5574246"/>
          </a:xfrm>
        </p:spPr>
      </p:pic>
      <p:sp>
        <p:nvSpPr>
          <p:cNvPr id="16" name="Title 3">
            <a:extLst>
              <a:ext uri="{FF2B5EF4-FFF2-40B4-BE49-F238E27FC236}">
                <a16:creationId xmlns:a16="http://schemas.microsoft.com/office/drawing/2014/main" id="{71CC6877-37EB-4319-8B4B-BF7B394326C8}"/>
              </a:ext>
            </a:extLst>
          </p:cNvPr>
          <p:cNvSpPr txBox="1">
            <a:spLocks/>
          </p:cNvSpPr>
          <p:nvPr/>
        </p:nvSpPr>
        <p:spPr>
          <a:xfrm>
            <a:off x="921933" y="4614787"/>
            <a:ext cx="4687757" cy="897983"/>
          </a:xfrm>
          <a:prstGeom prst="rect">
            <a:avLst/>
          </a:prstGeom>
        </p:spPr>
        <p:txBody>
          <a:bodyPr vert="horz" lIns="0" tIns="45720" rIns="91440" bIns="0" rtlCol="0" anchor="b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800" b="1" i="0" kern="1200" cap="none" spc="-100" baseline="0">
                <a:solidFill>
                  <a:schemeClr val="tx1"/>
                </a:solidFill>
                <a:latin typeface="+mn-lt"/>
                <a:ea typeface="Bebas Neue" charset="0"/>
                <a:cs typeface="Chronicle Display Black"/>
              </a:defRPr>
            </a:lvl1pPr>
          </a:lstStyle>
          <a:p>
            <a:r>
              <a:rPr lang="en-US" sz="3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ableau </a:t>
            </a:r>
            <a:br>
              <a:rPr lang="en-US" sz="3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en-US" sz="3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evelopment</a:t>
            </a:r>
          </a:p>
          <a:p>
            <a:endParaRPr lang="en-US" sz="16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r>
              <a:rPr lang="en-US" sz="3200" i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ata Visualizations</a:t>
            </a:r>
          </a:p>
        </p:txBody>
      </p:sp>
    </p:spTree>
    <p:extLst>
      <p:ext uri="{BB962C8B-B14F-4D97-AF65-F5344CB8AC3E}">
        <p14:creationId xmlns:p14="http://schemas.microsoft.com/office/powerpoint/2010/main" val="1091811538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5DAED6B1-6292-6247-980F-02C1909970F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9900" y="736689"/>
            <a:ext cx="11252200" cy="283090"/>
          </a:xfrm>
        </p:spPr>
        <p:txBody>
          <a:bodyPr/>
          <a:lstStyle/>
          <a:p>
            <a:r>
              <a:rPr lang="en-US" sz="1200" dirty="0"/>
              <a:t>Calculations to display text readout for each pillar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3EC109-DCC4-D84A-96DD-9E1DD06C1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3563"/>
          </a:xfrm>
        </p:spPr>
        <p:txBody>
          <a:bodyPr/>
          <a:lstStyle/>
          <a:p>
            <a:r>
              <a:rPr lang="en-US" b="1" spc="0" dirty="0"/>
              <a:t>AI Readiness | </a:t>
            </a:r>
            <a:r>
              <a:rPr lang="en-US" spc="0" dirty="0"/>
              <a:t>Pillar Text (1 of 2)</a:t>
            </a:r>
            <a:endParaRPr lang="en-US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E6DFAAE-C9C6-9D46-B795-9BC79C578A16}"/>
              </a:ext>
            </a:extLst>
          </p:cNvPr>
          <p:cNvGrpSpPr/>
          <p:nvPr/>
        </p:nvGrpSpPr>
        <p:grpSpPr>
          <a:xfrm>
            <a:off x="10272038" y="173150"/>
            <a:ext cx="1632640" cy="366837"/>
            <a:chOff x="10272038" y="173150"/>
            <a:chExt cx="1632640" cy="366837"/>
          </a:xfrm>
        </p:grpSpPr>
        <p:grpSp>
          <p:nvGrpSpPr>
            <p:cNvPr id="7" name="Group 53">
              <a:extLst>
                <a:ext uri="{FF2B5EF4-FFF2-40B4-BE49-F238E27FC236}">
                  <a16:creationId xmlns:a16="http://schemas.microsoft.com/office/drawing/2014/main" id="{6C2C28C1-636A-1340-B840-A66A9F1DF6AB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0272038" y="173150"/>
              <a:ext cx="365760" cy="366837"/>
              <a:chOff x="5183" y="1046"/>
              <a:chExt cx="340" cy="341"/>
            </a:xfrm>
            <a:solidFill>
              <a:schemeClr val="bg1">
                <a:lumMod val="75000"/>
              </a:schemeClr>
            </a:solidFill>
          </p:grpSpPr>
          <p:sp>
            <p:nvSpPr>
              <p:cNvPr id="17" name="Freeform 54">
                <a:extLst>
                  <a:ext uri="{FF2B5EF4-FFF2-40B4-BE49-F238E27FC236}">
                    <a16:creationId xmlns:a16="http://schemas.microsoft.com/office/drawing/2014/main" id="{B3E3306A-20E7-4246-B14C-099787069D1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47" y="1110"/>
                <a:ext cx="212" cy="213"/>
              </a:xfrm>
              <a:custGeom>
                <a:avLst/>
                <a:gdLst>
                  <a:gd name="T0" fmla="*/ 160 w 320"/>
                  <a:gd name="T1" fmla="*/ 0 h 320"/>
                  <a:gd name="T2" fmla="*/ 0 w 320"/>
                  <a:gd name="T3" fmla="*/ 160 h 320"/>
                  <a:gd name="T4" fmla="*/ 160 w 320"/>
                  <a:gd name="T5" fmla="*/ 320 h 320"/>
                  <a:gd name="T6" fmla="*/ 320 w 320"/>
                  <a:gd name="T7" fmla="*/ 160 h 320"/>
                  <a:gd name="T8" fmla="*/ 160 w 320"/>
                  <a:gd name="T9" fmla="*/ 0 h 320"/>
                  <a:gd name="T10" fmla="*/ 283 w 320"/>
                  <a:gd name="T11" fmla="*/ 224 h 320"/>
                  <a:gd name="T12" fmla="*/ 218 w 320"/>
                  <a:gd name="T13" fmla="*/ 224 h 320"/>
                  <a:gd name="T14" fmla="*/ 223 w 320"/>
                  <a:gd name="T15" fmla="*/ 170 h 320"/>
                  <a:gd name="T16" fmla="*/ 298 w 320"/>
                  <a:gd name="T17" fmla="*/ 170 h 320"/>
                  <a:gd name="T18" fmla="*/ 283 w 320"/>
                  <a:gd name="T19" fmla="*/ 224 h 320"/>
                  <a:gd name="T20" fmla="*/ 160 w 320"/>
                  <a:gd name="T21" fmla="*/ 298 h 320"/>
                  <a:gd name="T22" fmla="*/ 127 w 320"/>
                  <a:gd name="T23" fmla="*/ 245 h 320"/>
                  <a:gd name="T24" fmla="*/ 192 w 320"/>
                  <a:gd name="T25" fmla="*/ 245 h 320"/>
                  <a:gd name="T26" fmla="*/ 160 w 320"/>
                  <a:gd name="T27" fmla="*/ 298 h 320"/>
                  <a:gd name="T28" fmla="*/ 122 w 320"/>
                  <a:gd name="T29" fmla="*/ 224 h 320"/>
                  <a:gd name="T30" fmla="*/ 117 w 320"/>
                  <a:gd name="T31" fmla="*/ 170 h 320"/>
                  <a:gd name="T32" fmla="*/ 202 w 320"/>
                  <a:gd name="T33" fmla="*/ 170 h 320"/>
                  <a:gd name="T34" fmla="*/ 197 w 320"/>
                  <a:gd name="T35" fmla="*/ 224 h 320"/>
                  <a:gd name="T36" fmla="*/ 122 w 320"/>
                  <a:gd name="T37" fmla="*/ 224 h 320"/>
                  <a:gd name="T38" fmla="*/ 22 w 320"/>
                  <a:gd name="T39" fmla="*/ 170 h 320"/>
                  <a:gd name="T40" fmla="*/ 96 w 320"/>
                  <a:gd name="T41" fmla="*/ 170 h 320"/>
                  <a:gd name="T42" fmla="*/ 101 w 320"/>
                  <a:gd name="T43" fmla="*/ 224 h 320"/>
                  <a:gd name="T44" fmla="*/ 37 w 320"/>
                  <a:gd name="T45" fmla="*/ 224 h 320"/>
                  <a:gd name="T46" fmla="*/ 22 w 320"/>
                  <a:gd name="T47" fmla="*/ 170 h 320"/>
                  <a:gd name="T48" fmla="*/ 37 w 320"/>
                  <a:gd name="T49" fmla="*/ 96 h 320"/>
                  <a:gd name="T50" fmla="*/ 101 w 320"/>
                  <a:gd name="T51" fmla="*/ 96 h 320"/>
                  <a:gd name="T52" fmla="*/ 96 w 320"/>
                  <a:gd name="T53" fmla="*/ 149 h 320"/>
                  <a:gd name="T54" fmla="*/ 22 w 320"/>
                  <a:gd name="T55" fmla="*/ 149 h 320"/>
                  <a:gd name="T56" fmla="*/ 37 w 320"/>
                  <a:gd name="T57" fmla="*/ 96 h 320"/>
                  <a:gd name="T58" fmla="*/ 160 w 320"/>
                  <a:gd name="T59" fmla="*/ 21 h 320"/>
                  <a:gd name="T60" fmla="*/ 192 w 320"/>
                  <a:gd name="T61" fmla="*/ 74 h 320"/>
                  <a:gd name="T62" fmla="*/ 127 w 320"/>
                  <a:gd name="T63" fmla="*/ 74 h 320"/>
                  <a:gd name="T64" fmla="*/ 160 w 320"/>
                  <a:gd name="T65" fmla="*/ 21 h 320"/>
                  <a:gd name="T66" fmla="*/ 197 w 320"/>
                  <a:gd name="T67" fmla="*/ 96 h 320"/>
                  <a:gd name="T68" fmla="*/ 202 w 320"/>
                  <a:gd name="T69" fmla="*/ 149 h 320"/>
                  <a:gd name="T70" fmla="*/ 117 w 320"/>
                  <a:gd name="T71" fmla="*/ 149 h 320"/>
                  <a:gd name="T72" fmla="*/ 122 w 320"/>
                  <a:gd name="T73" fmla="*/ 96 h 320"/>
                  <a:gd name="T74" fmla="*/ 197 w 320"/>
                  <a:gd name="T75" fmla="*/ 96 h 320"/>
                  <a:gd name="T76" fmla="*/ 223 w 320"/>
                  <a:gd name="T77" fmla="*/ 149 h 320"/>
                  <a:gd name="T78" fmla="*/ 218 w 320"/>
                  <a:gd name="T79" fmla="*/ 96 h 320"/>
                  <a:gd name="T80" fmla="*/ 283 w 320"/>
                  <a:gd name="T81" fmla="*/ 96 h 320"/>
                  <a:gd name="T82" fmla="*/ 298 w 320"/>
                  <a:gd name="T83" fmla="*/ 149 h 320"/>
                  <a:gd name="T84" fmla="*/ 223 w 320"/>
                  <a:gd name="T85" fmla="*/ 149 h 320"/>
                  <a:gd name="T86" fmla="*/ 269 w 320"/>
                  <a:gd name="T87" fmla="*/ 74 h 320"/>
                  <a:gd name="T88" fmla="*/ 214 w 320"/>
                  <a:gd name="T89" fmla="*/ 74 h 320"/>
                  <a:gd name="T90" fmla="*/ 196 w 320"/>
                  <a:gd name="T91" fmla="*/ 26 h 320"/>
                  <a:gd name="T92" fmla="*/ 269 w 320"/>
                  <a:gd name="T93" fmla="*/ 74 h 320"/>
                  <a:gd name="T94" fmla="*/ 124 w 320"/>
                  <a:gd name="T95" fmla="*/ 26 h 320"/>
                  <a:gd name="T96" fmla="*/ 105 w 320"/>
                  <a:gd name="T97" fmla="*/ 74 h 320"/>
                  <a:gd name="T98" fmla="*/ 51 w 320"/>
                  <a:gd name="T99" fmla="*/ 74 h 320"/>
                  <a:gd name="T100" fmla="*/ 124 w 320"/>
                  <a:gd name="T101" fmla="*/ 26 h 320"/>
                  <a:gd name="T102" fmla="*/ 51 w 320"/>
                  <a:gd name="T103" fmla="*/ 245 h 320"/>
                  <a:gd name="T104" fmla="*/ 105 w 320"/>
                  <a:gd name="T105" fmla="*/ 245 h 320"/>
                  <a:gd name="T106" fmla="*/ 124 w 320"/>
                  <a:gd name="T107" fmla="*/ 293 h 320"/>
                  <a:gd name="T108" fmla="*/ 51 w 320"/>
                  <a:gd name="T109" fmla="*/ 245 h 320"/>
                  <a:gd name="T110" fmla="*/ 196 w 320"/>
                  <a:gd name="T111" fmla="*/ 293 h 320"/>
                  <a:gd name="T112" fmla="*/ 214 w 320"/>
                  <a:gd name="T113" fmla="*/ 245 h 320"/>
                  <a:gd name="T114" fmla="*/ 269 w 320"/>
                  <a:gd name="T115" fmla="*/ 245 h 320"/>
                  <a:gd name="T116" fmla="*/ 196 w 320"/>
                  <a:gd name="T117" fmla="*/ 293 h 3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320" h="320">
                    <a:moveTo>
                      <a:pt x="160" y="0"/>
                    </a:moveTo>
                    <a:cubicBezTo>
                      <a:pt x="71" y="0"/>
                      <a:pt x="0" y="71"/>
                      <a:pt x="0" y="160"/>
                    </a:cubicBezTo>
                    <a:cubicBezTo>
                      <a:pt x="0" y="248"/>
                      <a:pt x="71" y="320"/>
                      <a:pt x="160" y="320"/>
                    </a:cubicBezTo>
                    <a:cubicBezTo>
                      <a:pt x="248" y="320"/>
                      <a:pt x="320" y="248"/>
                      <a:pt x="320" y="160"/>
                    </a:cubicBezTo>
                    <a:cubicBezTo>
                      <a:pt x="320" y="71"/>
                      <a:pt x="248" y="0"/>
                      <a:pt x="160" y="0"/>
                    </a:cubicBezTo>
                    <a:close/>
                    <a:moveTo>
                      <a:pt x="283" y="224"/>
                    </a:moveTo>
                    <a:cubicBezTo>
                      <a:pt x="218" y="224"/>
                      <a:pt x="218" y="224"/>
                      <a:pt x="218" y="224"/>
                    </a:cubicBezTo>
                    <a:cubicBezTo>
                      <a:pt x="221" y="207"/>
                      <a:pt x="223" y="188"/>
                      <a:pt x="223" y="170"/>
                    </a:cubicBezTo>
                    <a:cubicBezTo>
                      <a:pt x="298" y="170"/>
                      <a:pt x="298" y="170"/>
                      <a:pt x="298" y="170"/>
                    </a:cubicBezTo>
                    <a:cubicBezTo>
                      <a:pt x="296" y="189"/>
                      <a:pt x="291" y="207"/>
                      <a:pt x="283" y="224"/>
                    </a:cubicBezTo>
                    <a:close/>
                    <a:moveTo>
                      <a:pt x="160" y="298"/>
                    </a:moveTo>
                    <a:cubicBezTo>
                      <a:pt x="149" y="298"/>
                      <a:pt x="136" y="279"/>
                      <a:pt x="127" y="245"/>
                    </a:cubicBezTo>
                    <a:cubicBezTo>
                      <a:pt x="192" y="245"/>
                      <a:pt x="192" y="245"/>
                      <a:pt x="192" y="245"/>
                    </a:cubicBezTo>
                    <a:cubicBezTo>
                      <a:pt x="183" y="279"/>
                      <a:pt x="170" y="298"/>
                      <a:pt x="160" y="298"/>
                    </a:cubicBezTo>
                    <a:close/>
                    <a:moveTo>
                      <a:pt x="122" y="224"/>
                    </a:moveTo>
                    <a:cubicBezTo>
                      <a:pt x="120" y="208"/>
                      <a:pt x="118" y="190"/>
                      <a:pt x="117" y="170"/>
                    </a:cubicBezTo>
                    <a:cubicBezTo>
                      <a:pt x="202" y="170"/>
                      <a:pt x="202" y="170"/>
                      <a:pt x="202" y="170"/>
                    </a:cubicBezTo>
                    <a:cubicBezTo>
                      <a:pt x="202" y="190"/>
                      <a:pt x="200" y="208"/>
                      <a:pt x="197" y="224"/>
                    </a:cubicBezTo>
                    <a:lnTo>
                      <a:pt x="122" y="224"/>
                    </a:lnTo>
                    <a:close/>
                    <a:moveTo>
                      <a:pt x="22" y="170"/>
                    </a:moveTo>
                    <a:cubicBezTo>
                      <a:pt x="96" y="170"/>
                      <a:pt x="96" y="170"/>
                      <a:pt x="96" y="170"/>
                    </a:cubicBezTo>
                    <a:cubicBezTo>
                      <a:pt x="96" y="188"/>
                      <a:pt x="98" y="207"/>
                      <a:pt x="101" y="224"/>
                    </a:cubicBezTo>
                    <a:cubicBezTo>
                      <a:pt x="37" y="224"/>
                      <a:pt x="37" y="224"/>
                      <a:pt x="37" y="224"/>
                    </a:cubicBezTo>
                    <a:cubicBezTo>
                      <a:pt x="28" y="207"/>
                      <a:pt x="23" y="189"/>
                      <a:pt x="22" y="170"/>
                    </a:cubicBezTo>
                    <a:close/>
                    <a:moveTo>
                      <a:pt x="37" y="96"/>
                    </a:moveTo>
                    <a:cubicBezTo>
                      <a:pt x="101" y="96"/>
                      <a:pt x="101" y="96"/>
                      <a:pt x="101" y="96"/>
                    </a:cubicBezTo>
                    <a:cubicBezTo>
                      <a:pt x="98" y="113"/>
                      <a:pt x="96" y="131"/>
                      <a:pt x="96" y="149"/>
                    </a:cubicBezTo>
                    <a:cubicBezTo>
                      <a:pt x="22" y="149"/>
                      <a:pt x="22" y="149"/>
                      <a:pt x="22" y="149"/>
                    </a:cubicBezTo>
                    <a:cubicBezTo>
                      <a:pt x="23" y="130"/>
                      <a:pt x="28" y="112"/>
                      <a:pt x="37" y="96"/>
                    </a:cubicBezTo>
                    <a:close/>
                    <a:moveTo>
                      <a:pt x="160" y="21"/>
                    </a:moveTo>
                    <a:cubicBezTo>
                      <a:pt x="170" y="21"/>
                      <a:pt x="183" y="41"/>
                      <a:pt x="192" y="74"/>
                    </a:cubicBezTo>
                    <a:cubicBezTo>
                      <a:pt x="127" y="74"/>
                      <a:pt x="127" y="74"/>
                      <a:pt x="127" y="74"/>
                    </a:cubicBezTo>
                    <a:cubicBezTo>
                      <a:pt x="136" y="41"/>
                      <a:pt x="149" y="21"/>
                      <a:pt x="160" y="21"/>
                    </a:cubicBezTo>
                    <a:close/>
                    <a:moveTo>
                      <a:pt x="197" y="96"/>
                    </a:moveTo>
                    <a:cubicBezTo>
                      <a:pt x="200" y="111"/>
                      <a:pt x="202" y="129"/>
                      <a:pt x="202" y="149"/>
                    </a:cubicBezTo>
                    <a:cubicBezTo>
                      <a:pt x="117" y="149"/>
                      <a:pt x="117" y="149"/>
                      <a:pt x="117" y="149"/>
                    </a:cubicBezTo>
                    <a:cubicBezTo>
                      <a:pt x="118" y="129"/>
                      <a:pt x="120" y="111"/>
                      <a:pt x="122" y="96"/>
                    </a:cubicBezTo>
                    <a:lnTo>
                      <a:pt x="197" y="96"/>
                    </a:lnTo>
                    <a:close/>
                    <a:moveTo>
                      <a:pt x="223" y="149"/>
                    </a:moveTo>
                    <a:cubicBezTo>
                      <a:pt x="223" y="131"/>
                      <a:pt x="221" y="113"/>
                      <a:pt x="218" y="96"/>
                    </a:cubicBezTo>
                    <a:cubicBezTo>
                      <a:pt x="283" y="96"/>
                      <a:pt x="283" y="96"/>
                      <a:pt x="283" y="96"/>
                    </a:cubicBezTo>
                    <a:cubicBezTo>
                      <a:pt x="291" y="112"/>
                      <a:pt x="296" y="130"/>
                      <a:pt x="298" y="149"/>
                    </a:cubicBezTo>
                    <a:lnTo>
                      <a:pt x="223" y="149"/>
                    </a:lnTo>
                    <a:close/>
                    <a:moveTo>
                      <a:pt x="269" y="74"/>
                    </a:moveTo>
                    <a:cubicBezTo>
                      <a:pt x="214" y="74"/>
                      <a:pt x="214" y="74"/>
                      <a:pt x="214" y="74"/>
                    </a:cubicBezTo>
                    <a:cubicBezTo>
                      <a:pt x="210" y="55"/>
                      <a:pt x="203" y="39"/>
                      <a:pt x="196" y="26"/>
                    </a:cubicBezTo>
                    <a:cubicBezTo>
                      <a:pt x="225" y="34"/>
                      <a:pt x="251" y="51"/>
                      <a:pt x="269" y="74"/>
                    </a:cubicBezTo>
                    <a:close/>
                    <a:moveTo>
                      <a:pt x="124" y="26"/>
                    </a:moveTo>
                    <a:cubicBezTo>
                      <a:pt x="116" y="39"/>
                      <a:pt x="110" y="55"/>
                      <a:pt x="105" y="74"/>
                    </a:cubicBezTo>
                    <a:cubicBezTo>
                      <a:pt x="51" y="74"/>
                      <a:pt x="51" y="74"/>
                      <a:pt x="51" y="74"/>
                    </a:cubicBezTo>
                    <a:cubicBezTo>
                      <a:pt x="69" y="51"/>
                      <a:pt x="94" y="34"/>
                      <a:pt x="124" y="26"/>
                    </a:cubicBezTo>
                    <a:close/>
                    <a:moveTo>
                      <a:pt x="51" y="245"/>
                    </a:moveTo>
                    <a:cubicBezTo>
                      <a:pt x="105" y="245"/>
                      <a:pt x="105" y="245"/>
                      <a:pt x="105" y="245"/>
                    </a:cubicBezTo>
                    <a:cubicBezTo>
                      <a:pt x="110" y="264"/>
                      <a:pt x="116" y="281"/>
                      <a:pt x="124" y="293"/>
                    </a:cubicBezTo>
                    <a:cubicBezTo>
                      <a:pt x="94" y="285"/>
                      <a:pt x="69" y="268"/>
                      <a:pt x="51" y="245"/>
                    </a:cubicBezTo>
                    <a:close/>
                    <a:moveTo>
                      <a:pt x="196" y="293"/>
                    </a:moveTo>
                    <a:cubicBezTo>
                      <a:pt x="203" y="281"/>
                      <a:pt x="210" y="264"/>
                      <a:pt x="214" y="245"/>
                    </a:cubicBezTo>
                    <a:cubicBezTo>
                      <a:pt x="269" y="245"/>
                      <a:pt x="269" y="245"/>
                      <a:pt x="269" y="245"/>
                    </a:cubicBezTo>
                    <a:cubicBezTo>
                      <a:pt x="251" y="268"/>
                      <a:pt x="225" y="285"/>
                      <a:pt x="196" y="29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" name="Freeform 55">
                <a:extLst>
                  <a:ext uri="{FF2B5EF4-FFF2-40B4-BE49-F238E27FC236}">
                    <a16:creationId xmlns:a16="http://schemas.microsoft.com/office/drawing/2014/main" id="{C6023F7A-281F-C844-BA27-C60AACC50B4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83" y="1046"/>
                <a:ext cx="340" cy="341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A6030B49-ABBA-714D-8A34-EC40E7E014FC}"/>
                </a:ext>
              </a:extLst>
            </p:cNvPr>
            <p:cNvGrpSpPr/>
            <p:nvPr/>
          </p:nvGrpSpPr>
          <p:grpSpPr>
            <a:xfrm>
              <a:off x="11116624" y="173688"/>
              <a:ext cx="365760" cy="365760"/>
              <a:chOff x="6806797" y="2076826"/>
              <a:chExt cx="685804" cy="685804"/>
            </a:xfrm>
            <a:solidFill>
              <a:schemeClr val="bg1">
                <a:lumMod val="75000"/>
              </a:schemeClr>
            </a:solidFill>
          </p:grpSpPr>
          <p:sp>
            <p:nvSpPr>
              <p:cNvPr id="15" name="Freeform 623">
                <a:extLst>
                  <a:ext uri="{FF2B5EF4-FFF2-40B4-BE49-F238E27FC236}">
                    <a16:creationId xmlns:a16="http://schemas.microsoft.com/office/drawing/2014/main" id="{A4FD5118-54E1-AB45-A285-8EC74B0C2A0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06797" y="2076826"/>
                <a:ext cx="685804" cy="685804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pic>
            <p:nvPicPr>
              <p:cNvPr id="16" name="Graphic 15" descr="Target">
                <a:extLst>
                  <a:ext uri="{FF2B5EF4-FFF2-40B4-BE49-F238E27FC236}">
                    <a16:creationId xmlns:a16="http://schemas.microsoft.com/office/drawing/2014/main" id="{F49CF584-F4A5-1646-8AF3-B500F507B81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6852519" y="2122548"/>
                <a:ext cx="594360" cy="594360"/>
              </a:xfrm>
              <a:prstGeom prst="rect">
                <a:avLst/>
              </a:prstGeom>
            </p:spPr>
          </p:pic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7F71AAC5-B834-D242-BB6F-8A482CE61E94}"/>
                </a:ext>
              </a:extLst>
            </p:cNvPr>
            <p:cNvGrpSpPr/>
            <p:nvPr/>
          </p:nvGrpSpPr>
          <p:grpSpPr>
            <a:xfrm>
              <a:off x="11538918" y="173688"/>
              <a:ext cx="365760" cy="365760"/>
              <a:chOff x="6806753" y="3091011"/>
              <a:chExt cx="685800" cy="685800"/>
            </a:xfrm>
            <a:solidFill>
              <a:schemeClr val="bg1">
                <a:lumMod val="75000"/>
              </a:schemeClr>
            </a:solidFill>
          </p:grpSpPr>
          <p:sp>
            <p:nvSpPr>
              <p:cNvPr id="13" name="Freeform 727">
                <a:extLst>
                  <a:ext uri="{FF2B5EF4-FFF2-40B4-BE49-F238E27FC236}">
                    <a16:creationId xmlns:a16="http://schemas.microsoft.com/office/drawing/2014/main" id="{EB066332-9C45-C14B-878C-C484243F361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06753" y="3091011"/>
                <a:ext cx="685800" cy="685800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pic>
            <p:nvPicPr>
              <p:cNvPr id="14" name="Graphic 13" descr="Head with gears">
                <a:extLst>
                  <a:ext uri="{FF2B5EF4-FFF2-40B4-BE49-F238E27FC236}">
                    <a16:creationId xmlns:a16="http://schemas.microsoft.com/office/drawing/2014/main" id="{4B6CB2A0-BC97-DA40-A5FE-F028EA0A512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6932592" y="3216850"/>
                <a:ext cx="434123" cy="434123"/>
              </a:xfrm>
              <a:prstGeom prst="rect">
                <a:avLst/>
              </a:prstGeom>
            </p:spPr>
          </p:pic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BF1345B2-7AD3-6A47-B893-68DE43D819F9}"/>
                </a:ext>
              </a:extLst>
            </p:cNvPr>
            <p:cNvGrpSpPr/>
            <p:nvPr/>
          </p:nvGrpSpPr>
          <p:grpSpPr>
            <a:xfrm>
              <a:off x="10694331" y="173688"/>
              <a:ext cx="365760" cy="365760"/>
              <a:chOff x="6806753" y="2142199"/>
              <a:chExt cx="685804" cy="685804"/>
            </a:xfrm>
          </p:grpSpPr>
          <p:sp>
            <p:nvSpPr>
              <p:cNvPr id="11" name="Freeform 623">
                <a:extLst>
                  <a:ext uri="{FF2B5EF4-FFF2-40B4-BE49-F238E27FC236}">
                    <a16:creationId xmlns:a16="http://schemas.microsoft.com/office/drawing/2014/main" id="{15FD7F61-1750-854A-9E62-FE580DC1D5E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06753" y="2142199"/>
                <a:ext cx="685804" cy="685804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solidFill>
                <a:srgbClr val="36B9EE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pic>
            <p:nvPicPr>
              <p:cNvPr id="12" name="Graphic 11" descr="Badge Tick outline">
                <a:extLst>
                  <a:ext uri="{FF2B5EF4-FFF2-40B4-BE49-F238E27FC236}">
                    <a16:creationId xmlns:a16="http://schemas.microsoft.com/office/drawing/2014/main" id="{32933E97-681E-AD44-99AA-4FDAFC6D4F0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6834429" y="2170883"/>
                <a:ext cx="628436" cy="628436"/>
              </a:xfrm>
              <a:prstGeom prst="rect">
                <a:avLst/>
              </a:prstGeom>
            </p:spPr>
          </p:pic>
        </p:grpSp>
      </p:grpSp>
      <p:sp>
        <p:nvSpPr>
          <p:cNvPr id="23" name="Content Placeholder 1">
            <a:extLst>
              <a:ext uri="{FF2B5EF4-FFF2-40B4-BE49-F238E27FC236}">
                <a16:creationId xmlns:a16="http://schemas.microsoft.com/office/drawing/2014/main" id="{BEE15851-939A-1A44-A774-AF03855559D8}"/>
              </a:ext>
            </a:extLst>
          </p:cNvPr>
          <p:cNvSpPr txBox="1">
            <a:spLocks/>
          </p:cNvSpPr>
          <p:nvPr/>
        </p:nvSpPr>
        <p:spPr>
          <a:xfrm>
            <a:off x="464998" y="1676400"/>
            <a:ext cx="2397946" cy="4705351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 spc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spc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spc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spc="0" baseline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spc="0" baseline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he Pillar AI Readiness text draws from the AI Readiness text Excel file based on scores calculated from the survey data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Filter each sheet for Section (Pillar) and </a:t>
            </a:r>
            <a:r>
              <a:rPr lang="en-US" dirty="0" err="1"/>
              <a:t>Org_Group</a:t>
            </a:r>
            <a:r>
              <a:rPr lang="en-US" dirty="0"/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Use the “</a:t>
            </a:r>
            <a:r>
              <a:rPr lang="en-US" dirty="0" err="1"/>
              <a:t>Score_Status</a:t>
            </a:r>
            <a:r>
              <a:rPr lang="en-US" dirty="0"/>
              <a:t>” calculation in the sheet title, and the “</a:t>
            </a:r>
            <a:r>
              <a:rPr lang="en-US" dirty="0" err="1"/>
              <a:t>Score_Text</a:t>
            </a:r>
            <a:r>
              <a:rPr lang="en-US" dirty="0"/>
              <a:t>” calculation in the body of the sheet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BF9A7E20-C5DD-2A4A-9E70-AA50A0E9B7BA}"/>
              </a:ext>
            </a:extLst>
          </p:cNvPr>
          <p:cNvSpPr txBox="1">
            <a:spLocks/>
          </p:cNvSpPr>
          <p:nvPr/>
        </p:nvSpPr>
        <p:spPr>
          <a:xfrm>
            <a:off x="469900" y="1127760"/>
            <a:ext cx="2393043" cy="548640"/>
          </a:xfrm>
          <a:prstGeom prst="rect">
            <a:avLst/>
          </a:prstGeom>
          <a:solidFill>
            <a:srgbClr val="7ACAEE"/>
          </a:solidFill>
        </p:spPr>
        <p:txBody>
          <a:bodyPr anchor="ctr"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 spc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spc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spc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spc="0" baseline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spc="0" baseline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/>
              <a:t>Pillar Text Setting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E54C6639-15DA-964F-9C4E-0FE7DF983E53}"/>
              </a:ext>
            </a:extLst>
          </p:cNvPr>
          <p:cNvSpPr txBox="1"/>
          <p:nvPr/>
        </p:nvSpPr>
        <p:spPr>
          <a:xfrm>
            <a:off x="3011533" y="4144347"/>
            <a:ext cx="2989181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1000" dirty="0">
                <a:solidFill>
                  <a:srgbClr val="31313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illar text settings and filters.</a:t>
            </a:r>
          </a:p>
        </p:txBody>
      </p:sp>
      <p:pic>
        <p:nvPicPr>
          <p:cNvPr id="5" name="Picture 4" descr="Graphical user interface, text, website&#10;&#10;Description automatically generated">
            <a:extLst>
              <a:ext uri="{FF2B5EF4-FFF2-40B4-BE49-F238E27FC236}">
                <a16:creationId xmlns:a16="http://schemas.microsoft.com/office/drawing/2014/main" id="{492833D3-B637-2944-A06A-BF0A91BEE588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044" t="5870"/>
          <a:stretch/>
        </p:blipFill>
        <p:spPr>
          <a:xfrm>
            <a:off x="3011533" y="1127759"/>
            <a:ext cx="5695604" cy="2985552"/>
          </a:xfrm>
          <a:prstGeom prst="rect">
            <a:avLst/>
          </a:prstGeom>
          <a:ln>
            <a:solidFill>
              <a:schemeClr val="bg2"/>
            </a:solidFill>
          </a:ln>
        </p:spPr>
      </p:pic>
      <p:pic>
        <p:nvPicPr>
          <p:cNvPr id="21" name="Picture 20" descr="Graphical user interface, text, email&#10;&#10;Description automatically generated">
            <a:extLst>
              <a:ext uri="{FF2B5EF4-FFF2-40B4-BE49-F238E27FC236}">
                <a16:creationId xmlns:a16="http://schemas.microsoft.com/office/drawing/2014/main" id="{0C218D65-2D44-7049-AAD0-540911C84E0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86699" y="4523898"/>
            <a:ext cx="2720438" cy="1658349"/>
          </a:xfrm>
          <a:prstGeom prst="rect">
            <a:avLst/>
          </a:prstGeom>
        </p:spPr>
      </p:pic>
      <p:pic>
        <p:nvPicPr>
          <p:cNvPr id="25" name="Picture 24" descr="Graphical user interface, text, application, email&#10;&#10;Description automatically generated">
            <a:extLst>
              <a:ext uri="{FF2B5EF4-FFF2-40B4-BE49-F238E27FC236}">
                <a16:creationId xmlns:a16="http://schemas.microsoft.com/office/drawing/2014/main" id="{59AA74C2-FFA9-E945-851C-8585BBD90E8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11534" y="4523897"/>
            <a:ext cx="2738860" cy="1658349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BCBEDD1B-8267-DD47-8C18-4010F75D1E39}"/>
              </a:ext>
            </a:extLst>
          </p:cNvPr>
          <p:cNvSpPr txBox="1"/>
          <p:nvPr/>
        </p:nvSpPr>
        <p:spPr>
          <a:xfrm>
            <a:off x="3011533" y="6178181"/>
            <a:ext cx="232381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1000" dirty="0">
                <a:solidFill>
                  <a:srgbClr val="31313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itle text settings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31E5E9E5-010B-8443-9A84-C248968F4363}"/>
              </a:ext>
            </a:extLst>
          </p:cNvPr>
          <p:cNvSpPr txBox="1"/>
          <p:nvPr/>
        </p:nvSpPr>
        <p:spPr>
          <a:xfrm>
            <a:off x="5986699" y="6182246"/>
            <a:ext cx="232381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1000" dirty="0">
                <a:solidFill>
                  <a:srgbClr val="31313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ody text settings</a:t>
            </a:r>
          </a:p>
        </p:txBody>
      </p:sp>
    </p:spTree>
    <p:extLst>
      <p:ext uri="{BB962C8B-B14F-4D97-AF65-F5344CB8AC3E}">
        <p14:creationId xmlns:p14="http://schemas.microsoft.com/office/powerpoint/2010/main" val="3132320900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5DAED6B1-6292-6247-980F-02C1909970F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9900" y="736689"/>
            <a:ext cx="11252200" cy="283090"/>
          </a:xfrm>
        </p:spPr>
        <p:txBody>
          <a:bodyPr/>
          <a:lstStyle/>
          <a:p>
            <a:r>
              <a:rPr lang="en-US" sz="1200" dirty="0"/>
              <a:t>Calculations to display text readout for each pillar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3EC109-DCC4-D84A-96DD-9E1DD06C1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3563"/>
          </a:xfrm>
        </p:spPr>
        <p:txBody>
          <a:bodyPr/>
          <a:lstStyle/>
          <a:p>
            <a:r>
              <a:rPr lang="en-US" b="1" spc="0" dirty="0"/>
              <a:t>AI Readiness | </a:t>
            </a:r>
            <a:r>
              <a:rPr lang="en-US" spc="0" dirty="0"/>
              <a:t>Pillar Text (2 of 2)</a:t>
            </a:r>
            <a:endParaRPr lang="en-US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E6DFAAE-C9C6-9D46-B795-9BC79C578A16}"/>
              </a:ext>
            </a:extLst>
          </p:cNvPr>
          <p:cNvGrpSpPr/>
          <p:nvPr/>
        </p:nvGrpSpPr>
        <p:grpSpPr>
          <a:xfrm>
            <a:off x="10272038" y="173150"/>
            <a:ext cx="1632640" cy="366837"/>
            <a:chOff x="10272038" y="173150"/>
            <a:chExt cx="1632640" cy="366837"/>
          </a:xfrm>
        </p:grpSpPr>
        <p:grpSp>
          <p:nvGrpSpPr>
            <p:cNvPr id="7" name="Group 53">
              <a:extLst>
                <a:ext uri="{FF2B5EF4-FFF2-40B4-BE49-F238E27FC236}">
                  <a16:creationId xmlns:a16="http://schemas.microsoft.com/office/drawing/2014/main" id="{6C2C28C1-636A-1340-B840-A66A9F1DF6AB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0272038" y="173150"/>
              <a:ext cx="365760" cy="366837"/>
              <a:chOff x="5183" y="1046"/>
              <a:chExt cx="340" cy="341"/>
            </a:xfrm>
            <a:solidFill>
              <a:schemeClr val="bg1">
                <a:lumMod val="75000"/>
              </a:schemeClr>
            </a:solidFill>
          </p:grpSpPr>
          <p:sp>
            <p:nvSpPr>
              <p:cNvPr id="17" name="Freeform 54">
                <a:extLst>
                  <a:ext uri="{FF2B5EF4-FFF2-40B4-BE49-F238E27FC236}">
                    <a16:creationId xmlns:a16="http://schemas.microsoft.com/office/drawing/2014/main" id="{B3E3306A-20E7-4246-B14C-099787069D1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47" y="1110"/>
                <a:ext cx="212" cy="213"/>
              </a:xfrm>
              <a:custGeom>
                <a:avLst/>
                <a:gdLst>
                  <a:gd name="T0" fmla="*/ 160 w 320"/>
                  <a:gd name="T1" fmla="*/ 0 h 320"/>
                  <a:gd name="T2" fmla="*/ 0 w 320"/>
                  <a:gd name="T3" fmla="*/ 160 h 320"/>
                  <a:gd name="T4" fmla="*/ 160 w 320"/>
                  <a:gd name="T5" fmla="*/ 320 h 320"/>
                  <a:gd name="T6" fmla="*/ 320 w 320"/>
                  <a:gd name="T7" fmla="*/ 160 h 320"/>
                  <a:gd name="T8" fmla="*/ 160 w 320"/>
                  <a:gd name="T9" fmla="*/ 0 h 320"/>
                  <a:gd name="T10" fmla="*/ 283 w 320"/>
                  <a:gd name="T11" fmla="*/ 224 h 320"/>
                  <a:gd name="T12" fmla="*/ 218 w 320"/>
                  <a:gd name="T13" fmla="*/ 224 h 320"/>
                  <a:gd name="T14" fmla="*/ 223 w 320"/>
                  <a:gd name="T15" fmla="*/ 170 h 320"/>
                  <a:gd name="T16" fmla="*/ 298 w 320"/>
                  <a:gd name="T17" fmla="*/ 170 h 320"/>
                  <a:gd name="T18" fmla="*/ 283 w 320"/>
                  <a:gd name="T19" fmla="*/ 224 h 320"/>
                  <a:gd name="T20" fmla="*/ 160 w 320"/>
                  <a:gd name="T21" fmla="*/ 298 h 320"/>
                  <a:gd name="T22" fmla="*/ 127 w 320"/>
                  <a:gd name="T23" fmla="*/ 245 h 320"/>
                  <a:gd name="T24" fmla="*/ 192 w 320"/>
                  <a:gd name="T25" fmla="*/ 245 h 320"/>
                  <a:gd name="T26" fmla="*/ 160 w 320"/>
                  <a:gd name="T27" fmla="*/ 298 h 320"/>
                  <a:gd name="T28" fmla="*/ 122 w 320"/>
                  <a:gd name="T29" fmla="*/ 224 h 320"/>
                  <a:gd name="T30" fmla="*/ 117 w 320"/>
                  <a:gd name="T31" fmla="*/ 170 h 320"/>
                  <a:gd name="T32" fmla="*/ 202 w 320"/>
                  <a:gd name="T33" fmla="*/ 170 h 320"/>
                  <a:gd name="T34" fmla="*/ 197 w 320"/>
                  <a:gd name="T35" fmla="*/ 224 h 320"/>
                  <a:gd name="T36" fmla="*/ 122 w 320"/>
                  <a:gd name="T37" fmla="*/ 224 h 320"/>
                  <a:gd name="T38" fmla="*/ 22 w 320"/>
                  <a:gd name="T39" fmla="*/ 170 h 320"/>
                  <a:gd name="T40" fmla="*/ 96 w 320"/>
                  <a:gd name="T41" fmla="*/ 170 h 320"/>
                  <a:gd name="T42" fmla="*/ 101 w 320"/>
                  <a:gd name="T43" fmla="*/ 224 h 320"/>
                  <a:gd name="T44" fmla="*/ 37 w 320"/>
                  <a:gd name="T45" fmla="*/ 224 h 320"/>
                  <a:gd name="T46" fmla="*/ 22 w 320"/>
                  <a:gd name="T47" fmla="*/ 170 h 320"/>
                  <a:gd name="T48" fmla="*/ 37 w 320"/>
                  <a:gd name="T49" fmla="*/ 96 h 320"/>
                  <a:gd name="T50" fmla="*/ 101 w 320"/>
                  <a:gd name="T51" fmla="*/ 96 h 320"/>
                  <a:gd name="T52" fmla="*/ 96 w 320"/>
                  <a:gd name="T53" fmla="*/ 149 h 320"/>
                  <a:gd name="T54" fmla="*/ 22 w 320"/>
                  <a:gd name="T55" fmla="*/ 149 h 320"/>
                  <a:gd name="T56" fmla="*/ 37 w 320"/>
                  <a:gd name="T57" fmla="*/ 96 h 320"/>
                  <a:gd name="T58" fmla="*/ 160 w 320"/>
                  <a:gd name="T59" fmla="*/ 21 h 320"/>
                  <a:gd name="T60" fmla="*/ 192 w 320"/>
                  <a:gd name="T61" fmla="*/ 74 h 320"/>
                  <a:gd name="T62" fmla="*/ 127 w 320"/>
                  <a:gd name="T63" fmla="*/ 74 h 320"/>
                  <a:gd name="T64" fmla="*/ 160 w 320"/>
                  <a:gd name="T65" fmla="*/ 21 h 320"/>
                  <a:gd name="T66" fmla="*/ 197 w 320"/>
                  <a:gd name="T67" fmla="*/ 96 h 320"/>
                  <a:gd name="T68" fmla="*/ 202 w 320"/>
                  <a:gd name="T69" fmla="*/ 149 h 320"/>
                  <a:gd name="T70" fmla="*/ 117 w 320"/>
                  <a:gd name="T71" fmla="*/ 149 h 320"/>
                  <a:gd name="T72" fmla="*/ 122 w 320"/>
                  <a:gd name="T73" fmla="*/ 96 h 320"/>
                  <a:gd name="T74" fmla="*/ 197 w 320"/>
                  <a:gd name="T75" fmla="*/ 96 h 320"/>
                  <a:gd name="T76" fmla="*/ 223 w 320"/>
                  <a:gd name="T77" fmla="*/ 149 h 320"/>
                  <a:gd name="T78" fmla="*/ 218 w 320"/>
                  <a:gd name="T79" fmla="*/ 96 h 320"/>
                  <a:gd name="T80" fmla="*/ 283 w 320"/>
                  <a:gd name="T81" fmla="*/ 96 h 320"/>
                  <a:gd name="T82" fmla="*/ 298 w 320"/>
                  <a:gd name="T83" fmla="*/ 149 h 320"/>
                  <a:gd name="T84" fmla="*/ 223 w 320"/>
                  <a:gd name="T85" fmla="*/ 149 h 320"/>
                  <a:gd name="T86" fmla="*/ 269 w 320"/>
                  <a:gd name="T87" fmla="*/ 74 h 320"/>
                  <a:gd name="T88" fmla="*/ 214 w 320"/>
                  <a:gd name="T89" fmla="*/ 74 h 320"/>
                  <a:gd name="T90" fmla="*/ 196 w 320"/>
                  <a:gd name="T91" fmla="*/ 26 h 320"/>
                  <a:gd name="T92" fmla="*/ 269 w 320"/>
                  <a:gd name="T93" fmla="*/ 74 h 320"/>
                  <a:gd name="T94" fmla="*/ 124 w 320"/>
                  <a:gd name="T95" fmla="*/ 26 h 320"/>
                  <a:gd name="T96" fmla="*/ 105 w 320"/>
                  <a:gd name="T97" fmla="*/ 74 h 320"/>
                  <a:gd name="T98" fmla="*/ 51 w 320"/>
                  <a:gd name="T99" fmla="*/ 74 h 320"/>
                  <a:gd name="T100" fmla="*/ 124 w 320"/>
                  <a:gd name="T101" fmla="*/ 26 h 320"/>
                  <a:gd name="T102" fmla="*/ 51 w 320"/>
                  <a:gd name="T103" fmla="*/ 245 h 320"/>
                  <a:gd name="T104" fmla="*/ 105 w 320"/>
                  <a:gd name="T105" fmla="*/ 245 h 320"/>
                  <a:gd name="T106" fmla="*/ 124 w 320"/>
                  <a:gd name="T107" fmla="*/ 293 h 320"/>
                  <a:gd name="T108" fmla="*/ 51 w 320"/>
                  <a:gd name="T109" fmla="*/ 245 h 320"/>
                  <a:gd name="T110" fmla="*/ 196 w 320"/>
                  <a:gd name="T111" fmla="*/ 293 h 320"/>
                  <a:gd name="T112" fmla="*/ 214 w 320"/>
                  <a:gd name="T113" fmla="*/ 245 h 320"/>
                  <a:gd name="T114" fmla="*/ 269 w 320"/>
                  <a:gd name="T115" fmla="*/ 245 h 320"/>
                  <a:gd name="T116" fmla="*/ 196 w 320"/>
                  <a:gd name="T117" fmla="*/ 293 h 3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320" h="320">
                    <a:moveTo>
                      <a:pt x="160" y="0"/>
                    </a:moveTo>
                    <a:cubicBezTo>
                      <a:pt x="71" y="0"/>
                      <a:pt x="0" y="71"/>
                      <a:pt x="0" y="160"/>
                    </a:cubicBezTo>
                    <a:cubicBezTo>
                      <a:pt x="0" y="248"/>
                      <a:pt x="71" y="320"/>
                      <a:pt x="160" y="320"/>
                    </a:cubicBezTo>
                    <a:cubicBezTo>
                      <a:pt x="248" y="320"/>
                      <a:pt x="320" y="248"/>
                      <a:pt x="320" y="160"/>
                    </a:cubicBezTo>
                    <a:cubicBezTo>
                      <a:pt x="320" y="71"/>
                      <a:pt x="248" y="0"/>
                      <a:pt x="160" y="0"/>
                    </a:cubicBezTo>
                    <a:close/>
                    <a:moveTo>
                      <a:pt x="283" y="224"/>
                    </a:moveTo>
                    <a:cubicBezTo>
                      <a:pt x="218" y="224"/>
                      <a:pt x="218" y="224"/>
                      <a:pt x="218" y="224"/>
                    </a:cubicBezTo>
                    <a:cubicBezTo>
                      <a:pt x="221" y="207"/>
                      <a:pt x="223" y="188"/>
                      <a:pt x="223" y="170"/>
                    </a:cubicBezTo>
                    <a:cubicBezTo>
                      <a:pt x="298" y="170"/>
                      <a:pt x="298" y="170"/>
                      <a:pt x="298" y="170"/>
                    </a:cubicBezTo>
                    <a:cubicBezTo>
                      <a:pt x="296" y="189"/>
                      <a:pt x="291" y="207"/>
                      <a:pt x="283" y="224"/>
                    </a:cubicBezTo>
                    <a:close/>
                    <a:moveTo>
                      <a:pt x="160" y="298"/>
                    </a:moveTo>
                    <a:cubicBezTo>
                      <a:pt x="149" y="298"/>
                      <a:pt x="136" y="279"/>
                      <a:pt x="127" y="245"/>
                    </a:cubicBezTo>
                    <a:cubicBezTo>
                      <a:pt x="192" y="245"/>
                      <a:pt x="192" y="245"/>
                      <a:pt x="192" y="245"/>
                    </a:cubicBezTo>
                    <a:cubicBezTo>
                      <a:pt x="183" y="279"/>
                      <a:pt x="170" y="298"/>
                      <a:pt x="160" y="298"/>
                    </a:cubicBezTo>
                    <a:close/>
                    <a:moveTo>
                      <a:pt x="122" y="224"/>
                    </a:moveTo>
                    <a:cubicBezTo>
                      <a:pt x="120" y="208"/>
                      <a:pt x="118" y="190"/>
                      <a:pt x="117" y="170"/>
                    </a:cubicBezTo>
                    <a:cubicBezTo>
                      <a:pt x="202" y="170"/>
                      <a:pt x="202" y="170"/>
                      <a:pt x="202" y="170"/>
                    </a:cubicBezTo>
                    <a:cubicBezTo>
                      <a:pt x="202" y="190"/>
                      <a:pt x="200" y="208"/>
                      <a:pt x="197" y="224"/>
                    </a:cubicBezTo>
                    <a:lnTo>
                      <a:pt x="122" y="224"/>
                    </a:lnTo>
                    <a:close/>
                    <a:moveTo>
                      <a:pt x="22" y="170"/>
                    </a:moveTo>
                    <a:cubicBezTo>
                      <a:pt x="96" y="170"/>
                      <a:pt x="96" y="170"/>
                      <a:pt x="96" y="170"/>
                    </a:cubicBezTo>
                    <a:cubicBezTo>
                      <a:pt x="96" y="188"/>
                      <a:pt x="98" y="207"/>
                      <a:pt x="101" y="224"/>
                    </a:cubicBezTo>
                    <a:cubicBezTo>
                      <a:pt x="37" y="224"/>
                      <a:pt x="37" y="224"/>
                      <a:pt x="37" y="224"/>
                    </a:cubicBezTo>
                    <a:cubicBezTo>
                      <a:pt x="28" y="207"/>
                      <a:pt x="23" y="189"/>
                      <a:pt x="22" y="170"/>
                    </a:cubicBezTo>
                    <a:close/>
                    <a:moveTo>
                      <a:pt x="37" y="96"/>
                    </a:moveTo>
                    <a:cubicBezTo>
                      <a:pt x="101" y="96"/>
                      <a:pt x="101" y="96"/>
                      <a:pt x="101" y="96"/>
                    </a:cubicBezTo>
                    <a:cubicBezTo>
                      <a:pt x="98" y="113"/>
                      <a:pt x="96" y="131"/>
                      <a:pt x="96" y="149"/>
                    </a:cubicBezTo>
                    <a:cubicBezTo>
                      <a:pt x="22" y="149"/>
                      <a:pt x="22" y="149"/>
                      <a:pt x="22" y="149"/>
                    </a:cubicBezTo>
                    <a:cubicBezTo>
                      <a:pt x="23" y="130"/>
                      <a:pt x="28" y="112"/>
                      <a:pt x="37" y="96"/>
                    </a:cubicBezTo>
                    <a:close/>
                    <a:moveTo>
                      <a:pt x="160" y="21"/>
                    </a:moveTo>
                    <a:cubicBezTo>
                      <a:pt x="170" y="21"/>
                      <a:pt x="183" y="41"/>
                      <a:pt x="192" y="74"/>
                    </a:cubicBezTo>
                    <a:cubicBezTo>
                      <a:pt x="127" y="74"/>
                      <a:pt x="127" y="74"/>
                      <a:pt x="127" y="74"/>
                    </a:cubicBezTo>
                    <a:cubicBezTo>
                      <a:pt x="136" y="41"/>
                      <a:pt x="149" y="21"/>
                      <a:pt x="160" y="21"/>
                    </a:cubicBezTo>
                    <a:close/>
                    <a:moveTo>
                      <a:pt x="197" y="96"/>
                    </a:moveTo>
                    <a:cubicBezTo>
                      <a:pt x="200" y="111"/>
                      <a:pt x="202" y="129"/>
                      <a:pt x="202" y="149"/>
                    </a:cubicBezTo>
                    <a:cubicBezTo>
                      <a:pt x="117" y="149"/>
                      <a:pt x="117" y="149"/>
                      <a:pt x="117" y="149"/>
                    </a:cubicBezTo>
                    <a:cubicBezTo>
                      <a:pt x="118" y="129"/>
                      <a:pt x="120" y="111"/>
                      <a:pt x="122" y="96"/>
                    </a:cubicBezTo>
                    <a:lnTo>
                      <a:pt x="197" y="96"/>
                    </a:lnTo>
                    <a:close/>
                    <a:moveTo>
                      <a:pt x="223" y="149"/>
                    </a:moveTo>
                    <a:cubicBezTo>
                      <a:pt x="223" y="131"/>
                      <a:pt x="221" y="113"/>
                      <a:pt x="218" y="96"/>
                    </a:cubicBezTo>
                    <a:cubicBezTo>
                      <a:pt x="283" y="96"/>
                      <a:pt x="283" y="96"/>
                      <a:pt x="283" y="96"/>
                    </a:cubicBezTo>
                    <a:cubicBezTo>
                      <a:pt x="291" y="112"/>
                      <a:pt x="296" y="130"/>
                      <a:pt x="298" y="149"/>
                    </a:cubicBezTo>
                    <a:lnTo>
                      <a:pt x="223" y="149"/>
                    </a:lnTo>
                    <a:close/>
                    <a:moveTo>
                      <a:pt x="269" y="74"/>
                    </a:moveTo>
                    <a:cubicBezTo>
                      <a:pt x="214" y="74"/>
                      <a:pt x="214" y="74"/>
                      <a:pt x="214" y="74"/>
                    </a:cubicBezTo>
                    <a:cubicBezTo>
                      <a:pt x="210" y="55"/>
                      <a:pt x="203" y="39"/>
                      <a:pt x="196" y="26"/>
                    </a:cubicBezTo>
                    <a:cubicBezTo>
                      <a:pt x="225" y="34"/>
                      <a:pt x="251" y="51"/>
                      <a:pt x="269" y="74"/>
                    </a:cubicBezTo>
                    <a:close/>
                    <a:moveTo>
                      <a:pt x="124" y="26"/>
                    </a:moveTo>
                    <a:cubicBezTo>
                      <a:pt x="116" y="39"/>
                      <a:pt x="110" y="55"/>
                      <a:pt x="105" y="74"/>
                    </a:cubicBezTo>
                    <a:cubicBezTo>
                      <a:pt x="51" y="74"/>
                      <a:pt x="51" y="74"/>
                      <a:pt x="51" y="74"/>
                    </a:cubicBezTo>
                    <a:cubicBezTo>
                      <a:pt x="69" y="51"/>
                      <a:pt x="94" y="34"/>
                      <a:pt x="124" y="26"/>
                    </a:cubicBezTo>
                    <a:close/>
                    <a:moveTo>
                      <a:pt x="51" y="245"/>
                    </a:moveTo>
                    <a:cubicBezTo>
                      <a:pt x="105" y="245"/>
                      <a:pt x="105" y="245"/>
                      <a:pt x="105" y="245"/>
                    </a:cubicBezTo>
                    <a:cubicBezTo>
                      <a:pt x="110" y="264"/>
                      <a:pt x="116" y="281"/>
                      <a:pt x="124" y="293"/>
                    </a:cubicBezTo>
                    <a:cubicBezTo>
                      <a:pt x="94" y="285"/>
                      <a:pt x="69" y="268"/>
                      <a:pt x="51" y="245"/>
                    </a:cubicBezTo>
                    <a:close/>
                    <a:moveTo>
                      <a:pt x="196" y="293"/>
                    </a:moveTo>
                    <a:cubicBezTo>
                      <a:pt x="203" y="281"/>
                      <a:pt x="210" y="264"/>
                      <a:pt x="214" y="245"/>
                    </a:cubicBezTo>
                    <a:cubicBezTo>
                      <a:pt x="269" y="245"/>
                      <a:pt x="269" y="245"/>
                      <a:pt x="269" y="245"/>
                    </a:cubicBezTo>
                    <a:cubicBezTo>
                      <a:pt x="251" y="268"/>
                      <a:pt x="225" y="285"/>
                      <a:pt x="196" y="29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" name="Freeform 55">
                <a:extLst>
                  <a:ext uri="{FF2B5EF4-FFF2-40B4-BE49-F238E27FC236}">
                    <a16:creationId xmlns:a16="http://schemas.microsoft.com/office/drawing/2014/main" id="{C6023F7A-281F-C844-BA27-C60AACC50B4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83" y="1046"/>
                <a:ext cx="340" cy="341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A6030B49-ABBA-714D-8A34-EC40E7E014FC}"/>
                </a:ext>
              </a:extLst>
            </p:cNvPr>
            <p:cNvGrpSpPr/>
            <p:nvPr/>
          </p:nvGrpSpPr>
          <p:grpSpPr>
            <a:xfrm>
              <a:off x="11116624" y="173688"/>
              <a:ext cx="365760" cy="365760"/>
              <a:chOff x="6806797" y="2076826"/>
              <a:chExt cx="685804" cy="685804"/>
            </a:xfrm>
            <a:solidFill>
              <a:schemeClr val="bg1">
                <a:lumMod val="75000"/>
              </a:schemeClr>
            </a:solidFill>
          </p:grpSpPr>
          <p:sp>
            <p:nvSpPr>
              <p:cNvPr id="15" name="Freeform 623">
                <a:extLst>
                  <a:ext uri="{FF2B5EF4-FFF2-40B4-BE49-F238E27FC236}">
                    <a16:creationId xmlns:a16="http://schemas.microsoft.com/office/drawing/2014/main" id="{A4FD5118-54E1-AB45-A285-8EC74B0C2A0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06797" y="2076826"/>
                <a:ext cx="685804" cy="685804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pic>
            <p:nvPicPr>
              <p:cNvPr id="16" name="Graphic 15" descr="Target">
                <a:extLst>
                  <a:ext uri="{FF2B5EF4-FFF2-40B4-BE49-F238E27FC236}">
                    <a16:creationId xmlns:a16="http://schemas.microsoft.com/office/drawing/2014/main" id="{F49CF584-F4A5-1646-8AF3-B500F507B81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6852519" y="2122548"/>
                <a:ext cx="594360" cy="594360"/>
              </a:xfrm>
              <a:prstGeom prst="rect">
                <a:avLst/>
              </a:prstGeom>
            </p:spPr>
          </p:pic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7F71AAC5-B834-D242-BB6F-8A482CE61E94}"/>
                </a:ext>
              </a:extLst>
            </p:cNvPr>
            <p:cNvGrpSpPr/>
            <p:nvPr/>
          </p:nvGrpSpPr>
          <p:grpSpPr>
            <a:xfrm>
              <a:off x="11538918" y="173688"/>
              <a:ext cx="365760" cy="365760"/>
              <a:chOff x="6806753" y="3091011"/>
              <a:chExt cx="685800" cy="685800"/>
            </a:xfrm>
            <a:solidFill>
              <a:schemeClr val="bg1">
                <a:lumMod val="75000"/>
              </a:schemeClr>
            </a:solidFill>
          </p:grpSpPr>
          <p:sp>
            <p:nvSpPr>
              <p:cNvPr id="13" name="Freeform 727">
                <a:extLst>
                  <a:ext uri="{FF2B5EF4-FFF2-40B4-BE49-F238E27FC236}">
                    <a16:creationId xmlns:a16="http://schemas.microsoft.com/office/drawing/2014/main" id="{EB066332-9C45-C14B-878C-C484243F361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06753" y="3091011"/>
                <a:ext cx="685800" cy="685800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pic>
            <p:nvPicPr>
              <p:cNvPr id="14" name="Graphic 13" descr="Head with gears">
                <a:extLst>
                  <a:ext uri="{FF2B5EF4-FFF2-40B4-BE49-F238E27FC236}">
                    <a16:creationId xmlns:a16="http://schemas.microsoft.com/office/drawing/2014/main" id="{4B6CB2A0-BC97-DA40-A5FE-F028EA0A512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6932592" y="3216850"/>
                <a:ext cx="434123" cy="434123"/>
              </a:xfrm>
              <a:prstGeom prst="rect">
                <a:avLst/>
              </a:prstGeom>
            </p:spPr>
          </p:pic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BF1345B2-7AD3-6A47-B893-68DE43D819F9}"/>
                </a:ext>
              </a:extLst>
            </p:cNvPr>
            <p:cNvGrpSpPr/>
            <p:nvPr/>
          </p:nvGrpSpPr>
          <p:grpSpPr>
            <a:xfrm>
              <a:off x="10694331" y="173688"/>
              <a:ext cx="365760" cy="365760"/>
              <a:chOff x="6806753" y="2142199"/>
              <a:chExt cx="685804" cy="685804"/>
            </a:xfrm>
          </p:grpSpPr>
          <p:sp>
            <p:nvSpPr>
              <p:cNvPr id="11" name="Freeform 623">
                <a:extLst>
                  <a:ext uri="{FF2B5EF4-FFF2-40B4-BE49-F238E27FC236}">
                    <a16:creationId xmlns:a16="http://schemas.microsoft.com/office/drawing/2014/main" id="{15FD7F61-1750-854A-9E62-FE580DC1D5E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06753" y="2142199"/>
                <a:ext cx="685804" cy="685804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solidFill>
                <a:srgbClr val="36B9E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pic>
            <p:nvPicPr>
              <p:cNvPr id="12" name="Graphic 11" descr="Badge Tick outline">
                <a:extLst>
                  <a:ext uri="{FF2B5EF4-FFF2-40B4-BE49-F238E27FC236}">
                    <a16:creationId xmlns:a16="http://schemas.microsoft.com/office/drawing/2014/main" id="{32933E97-681E-AD44-99AA-4FDAFC6D4F0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6834429" y="2170883"/>
                <a:ext cx="628436" cy="628436"/>
              </a:xfrm>
              <a:prstGeom prst="rect">
                <a:avLst/>
              </a:prstGeom>
            </p:spPr>
          </p:pic>
        </p:grpSp>
      </p:grpSp>
      <p:sp>
        <p:nvSpPr>
          <p:cNvPr id="23" name="Content Placeholder 1">
            <a:extLst>
              <a:ext uri="{FF2B5EF4-FFF2-40B4-BE49-F238E27FC236}">
                <a16:creationId xmlns:a16="http://schemas.microsoft.com/office/drawing/2014/main" id="{BEE15851-939A-1A44-A774-AF03855559D8}"/>
              </a:ext>
            </a:extLst>
          </p:cNvPr>
          <p:cNvSpPr txBox="1">
            <a:spLocks/>
          </p:cNvSpPr>
          <p:nvPr/>
        </p:nvSpPr>
        <p:spPr>
          <a:xfrm>
            <a:off x="464998" y="1676400"/>
            <a:ext cx="2397946" cy="4705351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 spc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spc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spc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spc="0" baseline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spc="0" baseline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 err="1"/>
              <a:t>Q_Score</a:t>
            </a:r>
            <a:r>
              <a:rPr lang="en-US" dirty="0"/>
              <a:t> normalizes the “Value” (numeric value based on survey response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Use the “</a:t>
            </a:r>
            <a:r>
              <a:rPr lang="en-US" dirty="0" err="1"/>
              <a:t>Score_Status</a:t>
            </a:r>
            <a:r>
              <a:rPr lang="en-US" dirty="0"/>
              <a:t>” calculation in the sheet title, and the “</a:t>
            </a:r>
            <a:r>
              <a:rPr lang="en-US" dirty="0" err="1"/>
              <a:t>Score_Text</a:t>
            </a:r>
            <a:r>
              <a:rPr lang="en-US" dirty="0"/>
              <a:t>” calculation in the body of the sheet.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BF9A7E20-C5DD-2A4A-9E70-AA50A0E9B7BA}"/>
              </a:ext>
            </a:extLst>
          </p:cNvPr>
          <p:cNvSpPr txBox="1">
            <a:spLocks/>
          </p:cNvSpPr>
          <p:nvPr/>
        </p:nvSpPr>
        <p:spPr>
          <a:xfrm>
            <a:off x="469900" y="1127760"/>
            <a:ext cx="2393043" cy="548640"/>
          </a:xfrm>
          <a:prstGeom prst="rect">
            <a:avLst/>
          </a:prstGeom>
          <a:solidFill>
            <a:srgbClr val="7ACAEE"/>
          </a:solidFill>
        </p:spPr>
        <p:txBody>
          <a:bodyPr anchor="ctr"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 spc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spc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spc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spc="0" baseline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spc="0" baseline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/>
              <a:t>Pillar Text Settings</a:t>
            </a:r>
          </a:p>
        </p:txBody>
      </p:sp>
      <p:pic>
        <p:nvPicPr>
          <p:cNvPr id="30" name="Picture 29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93213442-9DF7-374E-AD56-154E3A95FF1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6674" y="1127760"/>
            <a:ext cx="3979379" cy="2505827"/>
          </a:xfrm>
          <a:prstGeom prst="rect">
            <a:avLst/>
          </a:prstGeom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B31B56D9-5030-7945-8AC6-A355F1FCC144}"/>
              </a:ext>
            </a:extLst>
          </p:cNvPr>
          <p:cNvSpPr txBox="1"/>
          <p:nvPr/>
        </p:nvSpPr>
        <p:spPr>
          <a:xfrm>
            <a:off x="3046674" y="3664623"/>
            <a:ext cx="359700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1000" dirty="0" err="1">
                <a:solidFill>
                  <a:srgbClr val="31313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Q_Score</a:t>
            </a:r>
            <a:r>
              <a:rPr lang="en-US" sz="1000" dirty="0">
                <a:solidFill>
                  <a:srgbClr val="31313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calculation</a:t>
            </a:r>
          </a:p>
        </p:txBody>
      </p:sp>
      <p:pic>
        <p:nvPicPr>
          <p:cNvPr id="33" name="Picture 32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127BD1A9-B653-A64D-B91D-9BD99B64648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9783" y="1131562"/>
            <a:ext cx="3954867" cy="2498222"/>
          </a:xfrm>
          <a:prstGeom prst="rect">
            <a:avLst/>
          </a:prstGeom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id="{5A586650-F254-034C-AD5B-C71E288AD5D6}"/>
              </a:ext>
            </a:extLst>
          </p:cNvPr>
          <p:cNvSpPr txBox="1"/>
          <p:nvPr/>
        </p:nvSpPr>
        <p:spPr>
          <a:xfrm>
            <a:off x="7209783" y="3664623"/>
            <a:ext cx="359700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1000" dirty="0" err="1">
                <a:solidFill>
                  <a:srgbClr val="31313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core_Status</a:t>
            </a:r>
            <a:r>
              <a:rPr lang="en-US" sz="1000" dirty="0">
                <a:solidFill>
                  <a:srgbClr val="31313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Calculation used in titles</a:t>
            </a:r>
          </a:p>
        </p:txBody>
      </p:sp>
      <p:pic>
        <p:nvPicPr>
          <p:cNvPr id="38" name="Picture 37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3EFB037B-C47B-9641-AE10-D39CD19B028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6674" y="4149767"/>
            <a:ext cx="3954869" cy="1712695"/>
          </a:xfrm>
          <a:prstGeom prst="rect">
            <a:avLst/>
          </a:prstGeom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id="{9BF18313-9F95-8144-B845-5EEB652D8330}"/>
              </a:ext>
            </a:extLst>
          </p:cNvPr>
          <p:cNvSpPr txBox="1"/>
          <p:nvPr/>
        </p:nvSpPr>
        <p:spPr>
          <a:xfrm>
            <a:off x="3046674" y="5888534"/>
            <a:ext cx="359700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1000" dirty="0" err="1">
                <a:solidFill>
                  <a:srgbClr val="31313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core_Text</a:t>
            </a:r>
            <a:r>
              <a:rPr lang="en-US" sz="1000" dirty="0">
                <a:solidFill>
                  <a:srgbClr val="31313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calculation used in body text</a:t>
            </a:r>
          </a:p>
        </p:txBody>
      </p:sp>
    </p:spTree>
    <p:extLst>
      <p:ext uri="{BB962C8B-B14F-4D97-AF65-F5344CB8AC3E}">
        <p14:creationId xmlns:p14="http://schemas.microsoft.com/office/powerpoint/2010/main" val="2460880160"/>
      </p:ext>
    </p:extLst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5DAED6B1-6292-6247-980F-02C1909970F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9900" y="736689"/>
            <a:ext cx="11252200" cy="283090"/>
          </a:xfrm>
        </p:spPr>
        <p:txBody>
          <a:bodyPr/>
          <a:lstStyle/>
          <a:p>
            <a:r>
              <a:rPr lang="en-US" sz="1200" dirty="0"/>
              <a:t>Slider chart set-up and filters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3EC109-DCC4-D84A-96DD-9E1DD06C1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3563"/>
          </a:xfrm>
        </p:spPr>
        <p:txBody>
          <a:bodyPr/>
          <a:lstStyle/>
          <a:p>
            <a:r>
              <a:rPr lang="en-US" b="1" spc="0" dirty="0"/>
              <a:t>Charts | </a:t>
            </a:r>
            <a:r>
              <a:rPr lang="en-US" dirty="0"/>
              <a:t>Slider Charts (1 of 3)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E6DFAAE-C9C6-9D46-B795-9BC79C578A16}"/>
              </a:ext>
            </a:extLst>
          </p:cNvPr>
          <p:cNvGrpSpPr/>
          <p:nvPr/>
        </p:nvGrpSpPr>
        <p:grpSpPr>
          <a:xfrm>
            <a:off x="10272038" y="173150"/>
            <a:ext cx="1632640" cy="366837"/>
            <a:chOff x="10272038" y="173150"/>
            <a:chExt cx="1632640" cy="366837"/>
          </a:xfrm>
        </p:grpSpPr>
        <p:grpSp>
          <p:nvGrpSpPr>
            <p:cNvPr id="7" name="Group 53">
              <a:extLst>
                <a:ext uri="{FF2B5EF4-FFF2-40B4-BE49-F238E27FC236}">
                  <a16:creationId xmlns:a16="http://schemas.microsoft.com/office/drawing/2014/main" id="{6C2C28C1-636A-1340-B840-A66A9F1DF6AB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0272038" y="173150"/>
              <a:ext cx="365760" cy="366837"/>
              <a:chOff x="5183" y="1046"/>
              <a:chExt cx="340" cy="341"/>
            </a:xfrm>
            <a:solidFill>
              <a:schemeClr val="bg1">
                <a:lumMod val="75000"/>
              </a:schemeClr>
            </a:solidFill>
          </p:grpSpPr>
          <p:sp>
            <p:nvSpPr>
              <p:cNvPr id="17" name="Freeform 54">
                <a:extLst>
                  <a:ext uri="{FF2B5EF4-FFF2-40B4-BE49-F238E27FC236}">
                    <a16:creationId xmlns:a16="http://schemas.microsoft.com/office/drawing/2014/main" id="{B3E3306A-20E7-4246-B14C-099787069D1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47" y="1110"/>
                <a:ext cx="212" cy="213"/>
              </a:xfrm>
              <a:custGeom>
                <a:avLst/>
                <a:gdLst>
                  <a:gd name="T0" fmla="*/ 160 w 320"/>
                  <a:gd name="T1" fmla="*/ 0 h 320"/>
                  <a:gd name="T2" fmla="*/ 0 w 320"/>
                  <a:gd name="T3" fmla="*/ 160 h 320"/>
                  <a:gd name="T4" fmla="*/ 160 w 320"/>
                  <a:gd name="T5" fmla="*/ 320 h 320"/>
                  <a:gd name="T6" fmla="*/ 320 w 320"/>
                  <a:gd name="T7" fmla="*/ 160 h 320"/>
                  <a:gd name="T8" fmla="*/ 160 w 320"/>
                  <a:gd name="T9" fmla="*/ 0 h 320"/>
                  <a:gd name="T10" fmla="*/ 283 w 320"/>
                  <a:gd name="T11" fmla="*/ 224 h 320"/>
                  <a:gd name="T12" fmla="*/ 218 w 320"/>
                  <a:gd name="T13" fmla="*/ 224 h 320"/>
                  <a:gd name="T14" fmla="*/ 223 w 320"/>
                  <a:gd name="T15" fmla="*/ 170 h 320"/>
                  <a:gd name="T16" fmla="*/ 298 w 320"/>
                  <a:gd name="T17" fmla="*/ 170 h 320"/>
                  <a:gd name="T18" fmla="*/ 283 w 320"/>
                  <a:gd name="T19" fmla="*/ 224 h 320"/>
                  <a:gd name="T20" fmla="*/ 160 w 320"/>
                  <a:gd name="T21" fmla="*/ 298 h 320"/>
                  <a:gd name="T22" fmla="*/ 127 w 320"/>
                  <a:gd name="T23" fmla="*/ 245 h 320"/>
                  <a:gd name="T24" fmla="*/ 192 w 320"/>
                  <a:gd name="T25" fmla="*/ 245 h 320"/>
                  <a:gd name="T26" fmla="*/ 160 w 320"/>
                  <a:gd name="T27" fmla="*/ 298 h 320"/>
                  <a:gd name="T28" fmla="*/ 122 w 320"/>
                  <a:gd name="T29" fmla="*/ 224 h 320"/>
                  <a:gd name="T30" fmla="*/ 117 w 320"/>
                  <a:gd name="T31" fmla="*/ 170 h 320"/>
                  <a:gd name="T32" fmla="*/ 202 w 320"/>
                  <a:gd name="T33" fmla="*/ 170 h 320"/>
                  <a:gd name="T34" fmla="*/ 197 w 320"/>
                  <a:gd name="T35" fmla="*/ 224 h 320"/>
                  <a:gd name="T36" fmla="*/ 122 w 320"/>
                  <a:gd name="T37" fmla="*/ 224 h 320"/>
                  <a:gd name="T38" fmla="*/ 22 w 320"/>
                  <a:gd name="T39" fmla="*/ 170 h 320"/>
                  <a:gd name="T40" fmla="*/ 96 w 320"/>
                  <a:gd name="T41" fmla="*/ 170 h 320"/>
                  <a:gd name="T42" fmla="*/ 101 w 320"/>
                  <a:gd name="T43" fmla="*/ 224 h 320"/>
                  <a:gd name="T44" fmla="*/ 37 w 320"/>
                  <a:gd name="T45" fmla="*/ 224 h 320"/>
                  <a:gd name="T46" fmla="*/ 22 w 320"/>
                  <a:gd name="T47" fmla="*/ 170 h 320"/>
                  <a:gd name="T48" fmla="*/ 37 w 320"/>
                  <a:gd name="T49" fmla="*/ 96 h 320"/>
                  <a:gd name="T50" fmla="*/ 101 w 320"/>
                  <a:gd name="T51" fmla="*/ 96 h 320"/>
                  <a:gd name="T52" fmla="*/ 96 w 320"/>
                  <a:gd name="T53" fmla="*/ 149 h 320"/>
                  <a:gd name="T54" fmla="*/ 22 w 320"/>
                  <a:gd name="T55" fmla="*/ 149 h 320"/>
                  <a:gd name="T56" fmla="*/ 37 w 320"/>
                  <a:gd name="T57" fmla="*/ 96 h 320"/>
                  <a:gd name="T58" fmla="*/ 160 w 320"/>
                  <a:gd name="T59" fmla="*/ 21 h 320"/>
                  <a:gd name="T60" fmla="*/ 192 w 320"/>
                  <a:gd name="T61" fmla="*/ 74 h 320"/>
                  <a:gd name="T62" fmla="*/ 127 w 320"/>
                  <a:gd name="T63" fmla="*/ 74 h 320"/>
                  <a:gd name="T64" fmla="*/ 160 w 320"/>
                  <a:gd name="T65" fmla="*/ 21 h 320"/>
                  <a:gd name="T66" fmla="*/ 197 w 320"/>
                  <a:gd name="T67" fmla="*/ 96 h 320"/>
                  <a:gd name="T68" fmla="*/ 202 w 320"/>
                  <a:gd name="T69" fmla="*/ 149 h 320"/>
                  <a:gd name="T70" fmla="*/ 117 w 320"/>
                  <a:gd name="T71" fmla="*/ 149 h 320"/>
                  <a:gd name="T72" fmla="*/ 122 w 320"/>
                  <a:gd name="T73" fmla="*/ 96 h 320"/>
                  <a:gd name="T74" fmla="*/ 197 w 320"/>
                  <a:gd name="T75" fmla="*/ 96 h 320"/>
                  <a:gd name="T76" fmla="*/ 223 w 320"/>
                  <a:gd name="T77" fmla="*/ 149 h 320"/>
                  <a:gd name="T78" fmla="*/ 218 w 320"/>
                  <a:gd name="T79" fmla="*/ 96 h 320"/>
                  <a:gd name="T80" fmla="*/ 283 w 320"/>
                  <a:gd name="T81" fmla="*/ 96 h 320"/>
                  <a:gd name="T82" fmla="*/ 298 w 320"/>
                  <a:gd name="T83" fmla="*/ 149 h 320"/>
                  <a:gd name="T84" fmla="*/ 223 w 320"/>
                  <a:gd name="T85" fmla="*/ 149 h 320"/>
                  <a:gd name="T86" fmla="*/ 269 w 320"/>
                  <a:gd name="T87" fmla="*/ 74 h 320"/>
                  <a:gd name="T88" fmla="*/ 214 w 320"/>
                  <a:gd name="T89" fmla="*/ 74 h 320"/>
                  <a:gd name="T90" fmla="*/ 196 w 320"/>
                  <a:gd name="T91" fmla="*/ 26 h 320"/>
                  <a:gd name="T92" fmla="*/ 269 w 320"/>
                  <a:gd name="T93" fmla="*/ 74 h 320"/>
                  <a:gd name="T94" fmla="*/ 124 w 320"/>
                  <a:gd name="T95" fmla="*/ 26 h 320"/>
                  <a:gd name="T96" fmla="*/ 105 w 320"/>
                  <a:gd name="T97" fmla="*/ 74 h 320"/>
                  <a:gd name="T98" fmla="*/ 51 w 320"/>
                  <a:gd name="T99" fmla="*/ 74 h 320"/>
                  <a:gd name="T100" fmla="*/ 124 w 320"/>
                  <a:gd name="T101" fmla="*/ 26 h 320"/>
                  <a:gd name="T102" fmla="*/ 51 w 320"/>
                  <a:gd name="T103" fmla="*/ 245 h 320"/>
                  <a:gd name="T104" fmla="*/ 105 w 320"/>
                  <a:gd name="T105" fmla="*/ 245 h 320"/>
                  <a:gd name="T106" fmla="*/ 124 w 320"/>
                  <a:gd name="T107" fmla="*/ 293 h 320"/>
                  <a:gd name="T108" fmla="*/ 51 w 320"/>
                  <a:gd name="T109" fmla="*/ 245 h 320"/>
                  <a:gd name="T110" fmla="*/ 196 w 320"/>
                  <a:gd name="T111" fmla="*/ 293 h 320"/>
                  <a:gd name="T112" fmla="*/ 214 w 320"/>
                  <a:gd name="T113" fmla="*/ 245 h 320"/>
                  <a:gd name="T114" fmla="*/ 269 w 320"/>
                  <a:gd name="T115" fmla="*/ 245 h 320"/>
                  <a:gd name="T116" fmla="*/ 196 w 320"/>
                  <a:gd name="T117" fmla="*/ 293 h 3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320" h="320">
                    <a:moveTo>
                      <a:pt x="160" y="0"/>
                    </a:moveTo>
                    <a:cubicBezTo>
                      <a:pt x="71" y="0"/>
                      <a:pt x="0" y="71"/>
                      <a:pt x="0" y="160"/>
                    </a:cubicBezTo>
                    <a:cubicBezTo>
                      <a:pt x="0" y="248"/>
                      <a:pt x="71" y="320"/>
                      <a:pt x="160" y="320"/>
                    </a:cubicBezTo>
                    <a:cubicBezTo>
                      <a:pt x="248" y="320"/>
                      <a:pt x="320" y="248"/>
                      <a:pt x="320" y="160"/>
                    </a:cubicBezTo>
                    <a:cubicBezTo>
                      <a:pt x="320" y="71"/>
                      <a:pt x="248" y="0"/>
                      <a:pt x="160" y="0"/>
                    </a:cubicBezTo>
                    <a:close/>
                    <a:moveTo>
                      <a:pt x="283" y="224"/>
                    </a:moveTo>
                    <a:cubicBezTo>
                      <a:pt x="218" y="224"/>
                      <a:pt x="218" y="224"/>
                      <a:pt x="218" y="224"/>
                    </a:cubicBezTo>
                    <a:cubicBezTo>
                      <a:pt x="221" y="207"/>
                      <a:pt x="223" y="188"/>
                      <a:pt x="223" y="170"/>
                    </a:cubicBezTo>
                    <a:cubicBezTo>
                      <a:pt x="298" y="170"/>
                      <a:pt x="298" y="170"/>
                      <a:pt x="298" y="170"/>
                    </a:cubicBezTo>
                    <a:cubicBezTo>
                      <a:pt x="296" y="189"/>
                      <a:pt x="291" y="207"/>
                      <a:pt x="283" y="224"/>
                    </a:cubicBezTo>
                    <a:close/>
                    <a:moveTo>
                      <a:pt x="160" y="298"/>
                    </a:moveTo>
                    <a:cubicBezTo>
                      <a:pt x="149" y="298"/>
                      <a:pt x="136" y="279"/>
                      <a:pt x="127" y="245"/>
                    </a:cubicBezTo>
                    <a:cubicBezTo>
                      <a:pt x="192" y="245"/>
                      <a:pt x="192" y="245"/>
                      <a:pt x="192" y="245"/>
                    </a:cubicBezTo>
                    <a:cubicBezTo>
                      <a:pt x="183" y="279"/>
                      <a:pt x="170" y="298"/>
                      <a:pt x="160" y="298"/>
                    </a:cubicBezTo>
                    <a:close/>
                    <a:moveTo>
                      <a:pt x="122" y="224"/>
                    </a:moveTo>
                    <a:cubicBezTo>
                      <a:pt x="120" y="208"/>
                      <a:pt x="118" y="190"/>
                      <a:pt x="117" y="170"/>
                    </a:cubicBezTo>
                    <a:cubicBezTo>
                      <a:pt x="202" y="170"/>
                      <a:pt x="202" y="170"/>
                      <a:pt x="202" y="170"/>
                    </a:cubicBezTo>
                    <a:cubicBezTo>
                      <a:pt x="202" y="190"/>
                      <a:pt x="200" y="208"/>
                      <a:pt x="197" y="224"/>
                    </a:cubicBezTo>
                    <a:lnTo>
                      <a:pt x="122" y="224"/>
                    </a:lnTo>
                    <a:close/>
                    <a:moveTo>
                      <a:pt x="22" y="170"/>
                    </a:moveTo>
                    <a:cubicBezTo>
                      <a:pt x="96" y="170"/>
                      <a:pt x="96" y="170"/>
                      <a:pt x="96" y="170"/>
                    </a:cubicBezTo>
                    <a:cubicBezTo>
                      <a:pt x="96" y="188"/>
                      <a:pt x="98" y="207"/>
                      <a:pt x="101" y="224"/>
                    </a:cubicBezTo>
                    <a:cubicBezTo>
                      <a:pt x="37" y="224"/>
                      <a:pt x="37" y="224"/>
                      <a:pt x="37" y="224"/>
                    </a:cubicBezTo>
                    <a:cubicBezTo>
                      <a:pt x="28" y="207"/>
                      <a:pt x="23" y="189"/>
                      <a:pt x="22" y="170"/>
                    </a:cubicBezTo>
                    <a:close/>
                    <a:moveTo>
                      <a:pt x="37" y="96"/>
                    </a:moveTo>
                    <a:cubicBezTo>
                      <a:pt x="101" y="96"/>
                      <a:pt x="101" y="96"/>
                      <a:pt x="101" y="96"/>
                    </a:cubicBezTo>
                    <a:cubicBezTo>
                      <a:pt x="98" y="113"/>
                      <a:pt x="96" y="131"/>
                      <a:pt x="96" y="149"/>
                    </a:cubicBezTo>
                    <a:cubicBezTo>
                      <a:pt x="22" y="149"/>
                      <a:pt x="22" y="149"/>
                      <a:pt x="22" y="149"/>
                    </a:cubicBezTo>
                    <a:cubicBezTo>
                      <a:pt x="23" y="130"/>
                      <a:pt x="28" y="112"/>
                      <a:pt x="37" y="96"/>
                    </a:cubicBezTo>
                    <a:close/>
                    <a:moveTo>
                      <a:pt x="160" y="21"/>
                    </a:moveTo>
                    <a:cubicBezTo>
                      <a:pt x="170" y="21"/>
                      <a:pt x="183" y="41"/>
                      <a:pt x="192" y="74"/>
                    </a:cubicBezTo>
                    <a:cubicBezTo>
                      <a:pt x="127" y="74"/>
                      <a:pt x="127" y="74"/>
                      <a:pt x="127" y="74"/>
                    </a:cubicBezTo>
                    <a:cubicBezTo>
                      <a:pt x="136" y="41"/>
                      <a:pt x="149" y="21"/>
                      <a:pt x="160" y="21"/>
                    </a:cubicBezTo>
                    <a:close/>
                    <a:moveTo>
                      <a:pt x="197" y="96"/>
                    </a:moveTo>
                    <a:cubicBezTo>
                      <a:pt x="200" y="111"/>
                      <a:pt x="202" y="129"/>
                      <a:pt x="202" y="149"/>
                    </a:cubicBezTo>
                    <a:cubicBezTo>
                      <a:pt x="117" y="149"/>
                      <a:pt x="117" y="149"/>
                      <a:pt x="117" y="149"/>
                    </a:cubicBezTo>
                    <a:cubicBezTo>
                      <a:pt x="118" y="129"/>
                      <a:pt x="120" y="111"/>
                      <a:pt x="122" y="96"/>
                    </a:cubicBezTo>
                    <a:lnTo>
                      <a:pt x="197" y="96"/>
                    </a:lnTo>
                    <a:close/>
                    <a:moveTo>
                      <a:pt x="223" y="149"/>
                    </a:moveTo>
                    <a:cubicBezTo>
                      <a:pt x="223" y="131"/>
                      <a:pt x="221" y="113"/>
                      <a:pt x="218" y="96"/>
                    </a:cubicBezTo>
                    <a:cubicBezTo>
                      <a:pt x="283" y="96"/>
                      <a:pt x="283" y="96"/>
                      <a:pt x="283" y="96"/>
                    </a:cubicBezTo>
                    <a:cubicBezTo>
                      <a:pt x="291" y="112"/>
                      <a:pt x="296" y="130"/>
                      <a:pt x="298" y="149"/>
                    </a:cubicBezTo>
                    <a:lnTo>
                      <a:pt x="223" y="149"/>
                    </a:lnTo>
                    <a:close/>
                    <a:moveTo>
                      <a:pt x="269" y="74"/>
                    </a:moveTo>
                    <a:cubicBezTo>
                      <a:pt x="214" y="74"/>
                      <a:pt x="214" y="74"/>
                      <a:pt x="214" y="74"/>
                    </a:cubicBezTo>
                    <a:cubicBezTo>
                      <a:pt x="210" y="55"/>
                      <a:pt x="203" y="39"/>
                      <a:pt x="196" y="26"/>
                    </a:cubicBezTo>
                    <a:cubicBezTo>
                      <a:pt x="225" y="34"/>
                      <a:pt x="251" y="51"/>
                      <a:pt x="269" y="74"/>
                    </a:cubicBezTo>
                    <a:close/>
                    <a:moveTo>
                      <a:pt x="124" y="26"/>
                    </a:moveTo>
                    <a:cubicBezTo>
                      <a:pt x="116" y="39"/>
                      <a:pt x="110" y="55"/>
                      <a:pt x="105" y="74"/>
                    </a:cubicBezTo>
                    <a:cubicBezTo>
                      <a:pt x="51" y="74"/>
                      <a:pt x="51" y="74"/>
                      <a:pt x="51" y="74"/>
                    </a:cubicBezTo>
                    <a:cubicBezTo>
                      <a:pt x="69" y="51"/>
                      <a:pt x="94" y="34"/>
                      <a:pt x="124" y="26"/>
                    </a:cubicBezTo>
                    <a:close/>
                    <a:moveTo>
                      <a:pt x="51" y="245"/>
                    </a:moveTo>
                    <a:cubicBezTo>
                      <a:pt x="105" y="245"/>
                      <a:pt x="105" y="245"/>
                      <a:pt x="105" y="245"/>
                    </a:cubicBezTo>
                    <a:cubicBezTo>
                      <a:pt x="110" y="264"/>
                      <a:pt x="116" y="281"/>
                      <a:pt x="124" y="293"/>
                    </a:cubicBezTo>
                    <a:cubicBezTo>
                      <a:pt x="94" y="285"/>
                      <a:pt x="69" y="268"/>
                      <a:pt x="51" y="245"/>
                    </a:cubicBezTo>
                    <a:close/>
                    <a:moveTo>
                      <a:pt x="196" y="293"/>
                    </a:moveTo>
                    <a:cubicBezTo>
                      <a:pt x="203" y="281"/>
                      <a:pt x="210" y="264"/>
                      <a:pt x="214" y="245"/>
                    </a:cubicBezTo>
                    <a:cubicBezTo>
                      <a:pt x="269" y="245"/>
                      <a:pt x="269" y="245"/>
                      <a:pt x="269" y="245"/>
                    </a:cubicBezTo>
                    <a:cubicBezTo>
                      <a:pt x="251" y="268"/>
                      <a:pt x="225" y="285"/>
                      <a:pt x="196" y="29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" name="Freeform 55">
                <a:extLst>
                  <a:ext uri="{FF2B5EF4-FFF2-40B4-BE49-F238E27FC236}">
                    <a16:creationId xmlns:a16="http://schemas.microsoft.com/office/drawing/2014/main" id="{C6023F7A-281F-C844-BA27-C60AACC50B4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83" y="1046"/>
                <a:ext cx="340" cy="341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A6030B49-ABBA-714D-8A34-EC40E7E014FC}"/>
                </a:ext>
              </a:extLst>
            </p:cNvPr>
            <p:cNvGrpSpPr/>
            <p:nvPr/>
          </p:nvGrpSpPr>
          <p:grpSpPr>
            <a:xfrm>
              <a:off x="11116624" y="173688"/>
              <a:ext cx="365760" cy="365760"/>
              <a:chOff x="6806797" y="2076826"/>
              <a:chExt cx="685804" cy="685804"/>
            </a:xfrm>
            <a:solidFill>
              <a:schemeClr val="bg1">
                <a:lumMod val="75000"/>
              </a:schemeClr>
            </a:solidFill>
          </p:grpSpPr>
          <p:sp>
            <p:nvSpPr>
              <p:cNvPr id="15" name="Freeform 623">
                <a:extLst>
                  <a:ext uri="{FF2B5EF4-FFF2-40B4-BE49-F238E27FC236}">
                    <a16:creationId xmlns:a16="http://schemas.microsoft.com/office/drawing/2014/main" id="{A4FD5118-54E1-AB45-A285-8EC74B0C2A0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06797" y="2076826"/>
                <a:ext cx="685804" cy="685804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pic>
            <p:nvPicPr>
              <p:cNvPr id="16" name="Graphic 15" descr="Target">
                <a:extLst>
                  <a:ext uri="{FF2B5EF4-FFF2-40B4-BE49-F238E27FC236}">
                    <a16:creationId xmlns:a16="http://schemas.microsoft.com/office/drawing/2014/main" id="{F49CF584-F4A5-1646-8AF3-B500F507B81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6852519" y="2122548"/>
                <a:ext cx="594360" cy="594360"/>
              </a:xfrm>
              <a:prstGeom prst="rect">
                <a:avLst/>
              </a:prstGeom>
            </p:spPr>
          </p:pic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7F71AAC5-B834-D242-BB6F-8A482CE61E94}"/>
                </a:ext>
              </a:extLst>
            </p:cNvPr>
            <p:cNvGrpSpPr/>
            <p:nvPr/>
          </p:nvGrpSpPr>
          <p:grpSpPr>
            <a:xfrm>
              <a:off x="11538918" y="173688"/>
              <a:ext cx="365760" cy="365760"/>
              <a:chOff x="6806753" y="3091011"/>
              <a:chExt cx="685800" cy="685800"/>
            </a:xfrm>
            <a:solidFill>
              <a:schemeClr val="bg1">
                <a:lumMod val="75000"/>
              </a:schemeClr>
            </a:solidFill>
          </p:grpSpPr>
          <p:sp>
            <p:nvSpPr>
              <p:cNvPr id="13" name="Freeform 727">
                <a:extLst>
                  <a:ext uri="{FF2B5EF4-FFF2-40B4-BE49-F238E27FC236}">
                    <a16:creationId xmlns:a16="http://schemas.microsoft.com/office/drawing/2014/main" id="{EB066332-9C45-C14B-878C-C484243F361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06753" y="3091011"/>
                <a:ext cx="685800" cy="685800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pic>
            <p:nvPicPr>
              <p:cNvPr id="14" name="Graphic 13" descr="Head with gears">
                <a:extLst>
                  <a:ext uri="{FF2B5EF4-FFF2-40B4-BE49-F238E27FC236}">
                    <a16:creationId xmlns:a16="http://schemas.microsoft.com/office/drawing/2014/main" id="{4B6CB2A0-BC97-DA40-A5FE-F028EA0A512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6932592" y="3216850"/>
                <a:ext cx="434123" cy="434123"/>
              </a:xfrm>
              <a:prstGeom prst="rect">
                <a:avLst/>
              </a:prstGeom>
            </p:spPr>
          </p:pic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BF1345B2-7AD3-6A47-B893-68DE43D819F9}"/>
                </a:ext>
              </a:extLst>
            </p:cNvPr>
            <p:cNvGrpSpPr/>
            <p:nvPr/>
          </p:nvGrpSpPr>
          <p:grpSpPr>
            <a:xfrm>
              <a:off x="10694331" y="173688"/>
              <a:ext cx="365760" cy="365760"/>
              <a:chOff x="6806753" y="2142199"/>
              <a:chExt cx="685804" cy="685804"/>
            </a:xfrm>
          </p:grpSpPr>
          <p:sp>
            <p:nvSpPr>
              <p:cNvPr id="11" name="Freeform 623">
                <a:extLst>
                  <a:ext uri="{FF2B5EF4-FFF2-40B4-BE49-F238E27FC236}">
                    <a16:creationId xmlns:a16="http://schemas.microsoft.com/office/drawing/2014/main" id="{15FD7F61-1750-854A-9E62-FE580DC1D5E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06753" y="2142199"/>
                <a:ext cx="685804" cy="685804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solidFill>
                <a:srgbClr val="36B9EE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pic>
            <p:nvPicPr>
              <p:cNvPr id="12" name="Graphic 11" descr="Badge Tick outline">
                <a:extLst>
                  <a:ext uri="{FF2B5EF4-FFF2-40B4-BE49-F238E27FC236}">
                    <a16:creationId xmlns:a16="http://schemas.microsoft.com/office/drawing/2014/main" id="{32933E97-681E-AD44-99AA-4FDAFC6D4F0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6834429" y="2170883"/>
                <a:ext cx="628436" cy="628436"/>
              </a:xfrm>
              <a:prstGeom prst="rect">
                <a:avLst/>
              </a:prstGeom>
            </p:spPr>
          </p:pic>
        </p:grpSp>
      </p:grpSp>
      <p:sp>
        <p:nvSpPr>
          <p:cNvPr id="23" name="Content Placeholder 1">
            <a:extLst>
              <a:ext uri="{FF2B5EF4-FFF2-40B4-BE49-F238E27FC236}">
                <a16:creationId xmlns:a16="http://schemas.microsoft.com/office/drawing/2014/main" id="{BEE15851-939A-1A44-A774-AF03855559D8}"/>
              </a:ext>
            </a:extLst>
          </p:cNvPr>
          <p:cNvSpPr txBox="1">
            <a:spLocks/>
          </p:cNvSpPr>
          <p:nvPr/>
        </p:nvSpPr>
        <p:spPr>
          <a:xfrm>
            <a:off x="464998" y="1676400"/>
            <a:ext cx="2397946" cy="4705351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 spc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spc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spc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spc="0" baseline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spc="0" baseline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he Slider chart is a circle mark based on the Value data (numeric survey response) and a selection of </a:t>
            </a:r>
            <a:r>
              <a:rPr lang="en-US" dirty="0" err="1"/>
              <a:t>filtes</a:t>
            </a: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Column display is based on the AVG(Value)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Rows contain Grouping (text responses from survey). AGG(AVG(0)) is used to place the circle in the vertical center of each row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Exclude “Don’t know” from the Answer as a precaution to filter out 0 values that can cause bia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Make sure to check that Q_ID filter is showing the matching survey questions and response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BF9A7E20-C5DD-2A4A-9E70-AA50A0E9B7BA}"/>
              </a:ext>
            </a:extLst>
          </p:cNvPr>
          <p:cNvSpPr txBox="1">
            <a:spLocks/>
          </p:cNvSpPr>
          <p:nvPr/>
        </p:nvSpPr>
        <p:spPr>
          <a:xfrm>
            <a:off x="469900" y="1127760"/>
            <a:ext cx="2393043" cy="548640"/>
          </a:xfrm>
          <a:prstGeom prst="rect">
            <a:avLst/>
          </a:prstGeom>
          <a:solidFill>
            <a:srgbClr val="7ACAEE"/>
          </a:solidFill>
        </p:spPr>
        <p:txBody>
          <a:bodyPr anchor="ctr"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 spc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spc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spc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spc="0" baseline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spc="0" baseline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/>
              <a:t>Slider Chart Filter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E54C6639-15DA-964F-9C4E-0FE7DF983E53}"/>
              </a:ext>
            </a:extLst>
          </p:cNvPr>
          <p:cNvSpPr txBox="1"/>
          <p:nvPr/>
        </p:nvSpPr>
        <p:spPr>
          <a:xfrm>
            <a:off x="3008097" y="3313484"/>
            <a:ext cx="271261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1000" dirty="0">
                <a:solidFill>
                  <a:srgbClr val="31313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ilter and display settings for Slider charts.</a:t>
            </a:r>
          </a:p>
        </p:txBody>
      </p:sp>
      <p:pic>
        <p:nvPicPr>
          <p:cNvPr id="5" name="Picture 4" descr="Chart&#10;&#10;Description automatically generated with low confidence">
            <a:extLst>
              <a:ext uri="{FF2B5EF4-FFF2-40B4-BE49-F238E27FC236}">
                <a16:creationId xmlns:a16="http://schemas.microsoft.com/office/drawing/2014/main" id="{4F3FE32D-71C8-BE45-A30F-B126BAE4CBF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11533" y="1127761"/>
            <a:ext cx="4529445" cy="2154685"/>
          </a:xfrm>
          <a:prstGeom prst="rect">
            <a:avLst/>
          </a:prstGeom>
        </p:spPr>
      </p:pic>
      <p:pic>
        <p:nvPicPr>
          <p:cNvPr id="21" name="Picture 20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329C802C-223C-4140-B5E6-E89FB03D92E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08097" y="3601309"/>
            <a:ext cx="2178327" cy="2798064"/>
          </a:xfrm>
          <a:prstGeom prst="rect">
            <a:avLst/>
          </a:prstGeom>
        </p:spPr>
      </p:pic>
      <p:pic>
        <p:nvPicPr>
          <p:cNvPr id="25" name="Picture 24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546EDC5F-21CF-B74E-8CF9-083C880B2AD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6978" y="3614574"/>
            <a:ext cx="2178317" cy="2788801"/>
          </a:xfrm>
          <a:prstGeom prst="rect">
            <a:avLst/>
          </a:prstGeom>
          <a:ln>
            <a:solidFill>
              <a:srgbClr val="C00000"/>
            </a:solidFill>
          </a:ln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E175CE52-1E94-3A41-899C-F029E07CF09E}"/>
              </a:ext>
            </a:extLst>
          </p:cNvPr>
          <p:cNvSpPr txBox="1"/>
          <p:nvPr/>
        </p:nvSpPr>
        <p:spPr>
          <a:xfrm>
            <a:off x="3008097" y="6417929"/>
            <a:ext cx="271261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1000" dirty="0">
                <a:solidFill>
                  <a:srgbClr val="31313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n the Answer filter, exclude “Don’t know”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B804D80A-0814-A247-B4D1-BB138C3C99BA}"/>
              </a:ext>
            </a:extLst>
          </p:cNvPr>
          <p:cNvSpPr txBox="1"/>
          <p:nvPr/>
        </p:nvSpPr>
        <p:spPr>
          <a:xfrm>
            <a:off x="6033520" y="6442616"/>
            <a:ext cx="2178318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1000" b="1" dirty="0">
                <a:solidFill>
                  <a:srgbClr val="C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ake sure the Q_IDs selected are relevant to this section</a:t>
            </a:r>
          </a:p>
        </p:txBody>
      </p:sp>
      <p:pic>
        <p:nvPicPr>
          <p:cNvPr id="31" name="Picture 30" descr="Graphical user interface, text, email&#10;&#10;Description automatically generated">
            <a:extLst>
              <a:ext uri="{FF2B5EF4-FFF2-40B4-BE49-F238E27FC236}">
                <a16:creationId xmlns:a16="http://schemas.microsoft.com/office/drawing/2014/main" id="{CEB4F967-FBD5-6D41-B4F9-53159FE6EBB5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3870" y="1127760"/>
            <a:ext cx="3545634" cy="2159005"/>
          </a:xfrm>
          <a:prstGeom prst="rect">
            <a:avLst/>
          </a:prstGeom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id="{E6C81450-41B6-C04D-9559-96D07E56BAA7}"/>
              </a:ext>
            </a:extLst>
          </p:cNvPr>
          <p:cNvSpPr txBox="1"/>
          <p:nvPr/>
        </p:nvSpPr>
        <p:spPr>
          <a:xfrm>
            <a:off x="7749431" y="3313484"/>
            <a:ext cx="354563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1000" dirty="0">
                <a:solidFill>
                  <a:srgbClr val="31313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“Wording” data is used to display the question in the title</a:t>
            </a:r>
          </a:p>
        </p:txBody>
      </p:sp>
    </p:spTree>
    <p:extLst>
      <p:ext uri="{BB962C8B-B14F-4D97-AF65-F5344CB8AC3E}">
        <p14:creationId xmlns:p14="http://schemas.microsoft.com/office/powerpoint/2010/main" val="427869342"/>
      </p:ext>
    </p:extLst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5DAED6B1-6292-6247-980F-02C1909970F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9900" y="736689"/>
            <a:ext cx="11252200" cy="283090"/>
          </a:xfrm>
        </p:spPr>
        <p:txBody>
          <a:bodyPr/>
          <a:lstStyle/>
          <a:p>
            <a:r>
              <a:rPr lang="en-US" sz="1200" dirty="0"/>
              <a:t>Slider chart set-up and filters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3EC109-DCC4-D84A-96DD-9E1DD06C1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3563"/>
          </a:xfrm>
        </p:spPr>
        <p:txBody>
          <a:bodyPr/>
          <a:lstStyle/>
          <a:p>
            <a:r>
              <a:rPr lang="en-US" b="1" spc="0" dirty="0"/>
              <a:t>Charts | </a:t>
            </a:r>
            <a:r>
              <a:rPr lang="en-US" dirty="0"/>
              <a:t>Slider Charts (2 of 3)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E6DFAAE-C9C6-9D46-B795-9BC79C578A16}"/>
              </a:ext>
            </a:extLst>
          </p:cNvPr>
          <p:cNvGrpSpPr/>
          <p:nvPr/>
        </p:nvGrpSpPr>
        <p:grpSpPr>
          <a:xfrm>
            <a:off x="10272038" y="173150"/>
            <a:ext cx="1632640" cy="366837"/>
            <a:chOff x="10272038" y="173150"/>
            <a:chExt cx="1632640" cy="366837"/>
          </a:xfrm>
        </p:grpSpPr>
        <p:grpSp>
          <p:nvGrpSpPr>
            <p:cNvPr id="7" name="Group 53">
              <a:extLst>
                <a:ext uri="{FF2B5EF4-FFF2-40B4-BE49-F238E27FC236}">
                  <a16:creationId xmlns:a16="http://schemas.microsoft.com/office/drawing/2014/main" id="{6C2C28C1-636A-1340-B840-A66A9F1DF6AB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0272038" y="173150"/>
              <a:ext cx="365760" cy="366837"/>
              <a:chOff x="5183" y="1046"/>
              <a:chExt cx="340" cy="341"/>
            </a:xfrm>
            <a:solidFill>
              <a:schemeClr val="bg1">
                <a:lumMod val="75000"/>
              </a:schemeClr>
            </a:solidFill>
          </p:grpSpPr>
          <p:sp>
            <p:nvSpPr>
              <p:cNvPr id="17" name="Freeform 54">
                <a:extLst>
                  <a:ext uri="{FF2B5EF4-FFF2-40B4-BE49-F238E27FC236}">
                    <a16:creationId xmlns:a16="http://schemas.microsoft.com/office/drawing/2014/main" id="{B3E3306A-20E7-4246-B14C-099787069D1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47" y="1110"/>
                <a:ext cx="212" cy="213"/>
              </a:xfrm>
              <a:custGeom>
                <a:avLst/>
                <a:gdLst>
                  <a:gd name="T0" fmla="*/ 160 w 320"/>
                  <a:gd name="T1" fmla="*/ 0 h 320"/>
                  <a:gd name="T2" fmla="*/ 0 w 320"/>
                  <a:gd name="T3" fmla="*/ 160 h 320"/>
                  <a:gd name="T4" fmla="*/ 160 w 320"/>
                  <a:gd name="T5" fmla="*/ 320 h 320"/>
                  <a:gd name="T6" fmla="*/ 320 w 320"/>
                  <a:gd name="T7" fmla="*/ 160 h 320"/>
                  <a:gd name="T8" fmla="*/ 160 w 320"/>
                  <a:gd name="T9" fmla="*/ 0 h 320"/>
                  <a:gd name="T10" fmla="*/ 283 w 320"/>
                  <a:gd name="T11" fmla="*/ 224 h 320"/>
                  <a:gd name="T12" fmla="*/ 218 w 320"/>
                  <a:gd name="T13" fmla="*/ 224 h 320"/>
                  <a:gd name="T14" fmla="*/ 223 w 320"/>
                  <a:gd name="T15" fmla="*/ 170 h 320"/>
                  <a:gd name="T16" fmla="*/ 298 w 320"/>
                  <a:gd name="T17" fmla="*/ 170 h 320"/>
                  <a:gd name="T18" fmla="*/ 283 w 320"/>
                  <a:gd name="T19" fmla="*/ 224 h 320"/>
                  <a:gd name="T20" fmla="*/ 160 w 320"/>
                  <a:gd name="T21" fmla="*/ 298 h 320"/>
                  <a:gd name="T22" fmla="*/ 127 w 320"/>
                  <a:gd name="T23" fmla="*/ 245 h 320"/>
                  <a:gd name="T24" fmla="*/ 192 w 320"/>
                  <a:gd name="T25" fmla="*/ 245 h 320"/>
                  <a:gd name="T26" fmla="*/ 160 w 320"/>
                  <a:gd name="T27" fmla="*/ 298 h 320"/>
                  <a:gd name="T28" fmla="*/ 122 w 320"/>
                  <a:gd name="T29" fmla="*/ 224 h 320"/>
                  <a:gd name="T30" fmla="*/ 117 w 320"/>
                  <a:gd name="T31" fmla="*/ 170 h 320"/>
                  <a:gd name="T32" fmla="*/ 202 w 320"/>
                  <a:gd name="T33" fmla="*/ 170 h 320"/>
                  <a:gd name="T34" fmla="*/ 197 w 320"/>
                  <a:gd name="T35" fmla="*/ 224 h 320"/>
                  <a:gd name="T36" fmla="*/ 122 w 320"/>
                  <a:gd name="T37" fmla="*/ 224 h 320"/>
                  <a:gd name="T38" fmla="*/ 22 w 320"/>
                  <a:gd name="T39" fmla="*/ 170 h 320"/>
                  <a:gd name="T40" fmla="*/ 96 w 320"/>
                  <a:gd name="T41" fmla="*/ 170 h 320"/>
                  <a:gd name="T42" fmla="*/ 101 w 320"/>
                  <a:gd name="T43" fmla="*/ 224 h 320"/>
                  <a:gd name="T44" fmla="*/ 37 w 320"/>
                  <a:gd name="T45" fmla="*/ 224 h 320"/>
                  <a:gd name="T46" fmla="*/ 22 w 320"/>
                  <a:gd name="T47" fmla="*/ 170 h 320"/>
                  <a:gd name="T48" fmla="*/ 37 w 320"/>
                  <a:gd name="T49" fmla="*/ 96 h 320"/>
                  <a:gd name="T50" fmla="*/ 101 w 320"/>
                  <a:gd name="T51" fmla="*/ 96 h 320"/>
                  <a:gd name="T52" fmla="*/ 96 w 320"/>
                  <a:gd name="T53" fmla="*/ 149 h 320"/>
                  <a:gd name="T54" fmla="*/ 22 w 320"/>
                  <a:gd name="T55" fmla="*/ 149 h 320"/>
                  <a:gd name="T56" fmla="*/ 37 w 320"/>
                  <a:gd name="T57" fmla="*/ 96 h 320"/>
                  <a:gd name="T58" fmla="*/ 160 w 320"/>
                  <a:gd name="T59" fmla="*/ 21 h 320"/>
                  <a:gd name="T60" fmla="*/ 192 w 320"/>
                  <a:gd name="T61" fmla="*/ 74 h 320"/>
                  <a:gd name="T62" fmla="*/ 127 w 320"/>
                  <a:gd name="T63" fmla="*/ 74 h 320"/>
                  <a:gd name="T64" fmla="*/ 160 w 320"/>
                  <a:gd name="T65" fmla="*/ 21 h 320"/>
                  <a:gd name="T66" fmla="*/ 197 w 320"/>
                  <a:gd name="T67" fmla="*/ 96 h 320"/>
                  <a:gd name="T68" fmla="*/ 202 w 320"/>
                  <a:gd name="T69" fmla="*/ 149 h 320"/>
                  <a:gd name="T70" fmla="*/ 117 w 320"/>
                  <a:gd name="T71" fmla="*/ 149 h 320"/>
                  <a:gd name="T72" fmla="*/ 122 w 320"/>
                  <a:gd name="T73" fmla="*/ 96 h 320"/>
                  <a:gd name="T74" fmla="*/ 197 w 320"/>
                  <a:gd name="T75" fmla="*/ 96 h 320"/>
                  <a:gd name="T76" fmla="*/ 223 w 320"/>
                  <a:gd name="T77" fmla="*/ 149 h 320"/>
                  <a:gd name="T78" fmla="*/ 218 w 320"/>
                  <a:gd name="T79" fmla="*/ 96 h 320"/>
                  <a:gd name="T80" fmla="*/ 283 w 320"/>
                  <a:gd name="T81" fmla="*/ 96 h 320"/>
                  <a:gd name="T82" fmla="*/ 298 w 320"/>
                  <a:gd name="T83" fmla="*/ 149 h 320"/>
                  <a:gd name="T84" fmla="*/ 223 w 320"/>
                  <a:gd name="T85" fmla="*/ 149 h 320"/>
                  <a:gd name="T86" fmla="*/ 269 w 320"/>
                  <a:gd name="T87" fmla="*/ 74 h 320"/>
                  <a:gd name="T88" fmla="*/ 214 w 320"/>
                  <a:gd name="T89" fmla="*/ 74 h 320"/>
                  <a:gd name="T90" fmla="*/ 196 w 320"/>
                  <a:gd name="T91" fmla="*/ 26 h 320"/>
                  <a:gd name="T92" fmla="*/ 269 w 320"/>
                  <a:gd name="T93" fmla="*/ 74 h 320"/>
                  <a:gd name="T94" fmla="*/ 124 w 320"/>
                  <a:gd name="T95" fmla="*/ 26 h 320"/>
                  <a:gd name="T96" fmla="*/ 105 w 320"/>
                  <a:gd name="T97" fmla="*/ 74 h 320"/>
                  <a:gd name="T98" fmla="*/ 51 w 320"/>
                  <a:gd name="T99" fmla="*/ 74 h 320"/>
                  <a:gd name="T100" fmla="*/ 124 w 320"/>
                  <a:gd name="T101" fmla="*/ 26 h 320"/>
                  <a:gd name="T102" fmla="*/ 51 w 320"/>
                  <a:gd name="T103" fmla="*/ 245 h 320"/>
                  <a:gd name="T104" fmla="*/ 105 w 320"/>
                  <a:gd name="T105" fmla="*/ 245 h 320"/>
                  <a:gd name="T106" fmla="*/ 124 w 320"/>
                  <a:gd name="T107" fmla="*/ 293 h 320"/>
                  <a:gd name="T108" fmla="*/ 51 w 320"/>
                  <a:gd name="T109" fmla="*/ 245 h 320"/>
                  <a:gd name="T110" fmla="*/ 196 w 320"/>
                  <a:gd name="T111" fmla="*/ 293 h 320"/>
                  <a:gd name="T112" fmla="*/ 214 w 320"/>
                  <a:gd name="T113" fmla="*/ 245 h 320"/>
                  <a:gd name="T114" fmla="*/ 269 w 320"/>
                  <a:gd name="T115" fmla="*/ 245 h 320"/>
                  <a:gd name="T116" fmla="*/ 196 w 320"/>
                  <a:gd name="T117" fmla="*/ 293 h 3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320" h="320">
                    <a:moveTo>
                      <a:pt x="160" y="0"/>
                    </a:moveTo>
                    <a:cubicBezTo>
                      <a:pt x="71" y="0"/>
                      <a:pt x="0" y="71"/>
                      <a:pt x="0" y="160"/>
                    </a:cubicBezTo>
                    <a:cubicBezTo>
                      <a:pt x="0" y="248"/>
                      <a:pt x="71" y="320"/>
                      <a:pt x="160" y="320"/>
                    </a:cubicBezTo>
                    <a:cubicBezTo>
                      <a:pt x="248" y="320"/>
                      <a:pt x="320" y="248"/>
                      <a:pt x="320" y="160"/>
                    </a:cubicBezTo>
                    <a:cubicBezTo>
                      <a:pt x="320" y="71"/>
                      <a:pt x="248" y="0"/>
                      <a:pt x="160" y="0"/>
                    </a:cubicBezTo>
                    <a:close/>
                    <a:moveTo>
                      <a:pt x="283" y="224"/>
                    </a:moveTo>
                    <a:cubicBezTo>
                      <a:pt x="218" y="224"/>
                      <a:pt x="218" y="224"/>
                      <a:pt x="218" y="224"/>
                    </a:cubicBezTo>
                    <a:cubicBezTo>
                      <a:pt x="221" y="207"/>
                      <a:pt x="223" y="188"/>
                      <a:pt x="223" y="170"/>
                    </a:cubicBezTo>
                    <a:cubicBezTo>
                      <a:pt x="298" y="170"/>
                      <a:pt x="298" y="170"/>
                      <a:pt x="298" y="170"/>
                    </a:cubicBezTo>
                    <a:cubicBezTo>
                      <a:pt x="296" y="189"/>
                      <a:pt x="291" y="207"/>
                      <a:pt x="283" y="224"/>
                    </a:cubicBezTo>
                    <a:close/>
                    <a:moveTo>
                      <a:pt x="160" y="298"/>
                    </a:moveTo>
                    <a:cubicBezTo>
                      <a:pt x="149" y="298"/>
                      <a:pt x="136" y="279"/>
                      <a:pt x="127" y="245"/>
                    </a:cubicBezTo>
                    <a:cubicBezTo>
                      <a:pt x="192" y="245"/>
                      <a:pt x="192" y="245"/>
                      <a:pt x="192" y="245"/>
                    </a:cubicBezTo>
                    <a:cubicBezTo>
                      <a:pt x="183" y="279"/>
                      <a:pt x="170" y="298"/>
                      <a:pt x="160" y="298"/>
                    </a:cubicBezTo>
                    <a:close/>
                    <a:moveTo>
                      <a:pt x="122" y="224"/>
                    </a:moveTo>
                    <a:cubicBezTo>
                      <a:pt x="120" y="208"/>
                      <a:pt x="118" y="190"/>
                      <a:pt x="117" y="170"/>
                    </a:cubicBezTo>
                    <a:cubicBezTo>
                      <a:pt x="202" y="170"/>
                      <a:pt x="202" y="170"/>
                      <a:pt x="202" y="170"/>
                    </a:cubicBezTo>
                    <a:cubicBezTo>
                      <a:pt x="202" y="190"/>
                      <a:pt x="200" y="208"/>
                      <a:pt x="197" y="224"/>
                    </a:cubicBezTo>
                    <a:lnTo>
                      <a:pt x="122" y="224"/>
                    </a:lnTo>
                    <a:close/>
                    <a:moveTo>
                      <a:pt x="22" y="170"/>
                    </a:moveTo>
                    <a:cubicBezTo>
                      <a:pt x="96" y="170"/>
                      <a:pt x="96" y="170"/>
                      <a:pt x="96" y="170"/>
                    </a:cubicBezTo>
                    <a:cubicBezTo>
                      <a:pt x="96" y="188"/>
                      <a:pt x="98" y="207"/>
                      <a:pt x="101" y="224"/>
                    </a:cubicBezTo>
                    <a:cubicBezTo>
                      <a:pt x="37" y="224"/>
                      <a:pt x="37" y="224"/>
                      <a:pt x="37" y="224"/>
                    </a:cubicBezTo>
                    <a:cubicBezTo>
                      <a:pt x="28" y="207"/>
                      <a:pt x="23" y="189"/>
                      <a:pt x="22" y="170"/>
                    </a:cubicBezTo>
                    <a:close/>
                    <a:moveTo>
                      <a:pt x="37" y="96"/>
                    </a:moveTo>
                    <a:cubicBezTo>
                      <a:pt x="101" y="96"/>
                      <a:pt x="101" y="96"/>
                      <a:pt x="101" y="96"/>
                    </a:cubicBezTo>
                    <a:cubicBezTo>
                      <a:pt x="98" y="113"/>
                      <a:pt x="96" y="131"/>
                      <a:pt x="96" y="149"/>
                    </a:cubicBezTo>
                    <a:cubicBezTo>
                      <a:pt x="22" y="149"/>
                      <a:pt x="22" y="149"/>
                      <a:pt x="22" y="149"/>
                    </a:cubicBezTo>
                    <a:cubicBezTo>
                      <a:pt x="23" y="130"/>
                      <a:pt x="28" y="112"/>
                      <a:pt x="37" y="96"/>
                    </a:cubicBezTo>
                    <a:close/>
                    <a:moveTo>
                      <a:pt x="160" y="21"/>
                    </a:moveTo>
                    <a:cubicBezTo>
                      <a:pt x="170" y="21"/>
                      <a:pt x="183" y="41"/>
                      <a:pt x="192" y="74"/>
                    </a:cubicBezTo>
                    <a:cubicBezTo>
                      <a:pt x="127" y="74"/>
                      <a:pt x="127" y="74"/>
                      <a:pt x="127" y="74"/>
                    </a:cubicBezTo>
                    <a:cubicBezTo>
                      <a:pt x="136" y="41"/>
                      <a:pt x="149" y="21"/>
                      <a:pt x="160" y="21"/>
                    </a:cubicBezTo>
                    <a:close/>
                    <a:moveTo>
                      <a:pt x="197" y="96"/>
                    </a:moveTo>
                    <a:cubicBezTo>
                      <a:pt x="200" y="111"/>
                      <a:pt x="202" y="129"/>
                      <a:pt x="202" y="149"/>
                    </a:cubicBezTo>
                    <a:cubicBezTo>
                      <a:pt x="117" y="149"/>
                      <a:pt x="117" y="149"/>
                      <a:pt x="117" y="149"/>
                    </a:cubicBezTo>
                    <a:cubicBezTo>
                      <a:pt x="118" y="129"/>
                      <a:pt x="120" y="111"/>
                      <a:pt x="122" y="96"/>
                    </a:cubicBezTo>
                    <a:lnTo>
                      <a:pt x="197" y="96"/>
                    </a:lnTo>
                    <a:close/>
                    <a:moveTo>
                      <a:pt x="223" y="149"/>
                    </a:moveTo>
                    <a:cubicBezTo>
                      <a:pt x="223" y="131"/>
                      <a:pt x="221" y="113"/>
                      <a:pt x="218" y="96"/>
                    </a:cubicBezTo>
                    <a:cubicBezTo>
                      <a:pt x="283" y="96"/>
                      <a:pt x="283" y="96"/>
                      <a:pt x="283" y="96"/>
                    </a:cubicBezTo>
                    <a:cubicBezTo>
                      <a:pt x="291" y="112"/>
                      <a:pt x="296" y="130"/>
                      <a:pt x="298" y="149"/>
                    </a:cubicBezTo>
                    <a:lnTo>
                      <a:pt x="223" y="149"/>
                    </a:lnTo>
                    <a:close/>
                    <a:moveTo>
                      <a:pt x="269" y="74"/>
                    </a:moveTo>
                    <a:cubicBezTo>
                      <a:pt x="214" y="74"/>
                      <a:pt x="214" y="74"/>
                      <a:pt x="214" y="74"/>
                    </a:cubicBezTo>
                    <a:cubicBezTo>
                      <a:pt x="210" y="55"/>
                      <a:pt x="203" y="39"/>
                      <a:pt x="196" y="26"/>
                    </a:cubicBezTo>
                    <a:cubicBezTo>
                      <a:pt x="225" y="34"/>
                      <a:pt x="251" y="51"/>
                      <a:pt x="269" y="74"/>
                    </a:cubicBezTo>
                    <a:close/>
                    <a:moveTo>
                      <a:pt x="124" y="26"/>
                    </a:moveTo>
                    <a:cubicBezTo>
                      <a:pt x="116" y="39"/>
                      <a:pt x="110" y="55"/>
                      <a:pt x="105" y="74"/>
                    </a:cubicBezTo>
                    <a:cubicBezTo>
                      <a:pt x="51" y="74"/>
                      <a:pt x="51" y="74"/>
                      <a:pt x="51" y="74"/>
                    </a:cubicBezTo>
                    <a:cubicBezTo>
                      <a:pt x="69" y="51"/>
                      <a:pt x="94" y="34"/>
                      <a:pt x="124" y="26"/>
                    </a:cubicBezTo>
                    <a:close/>
                    <a:moveTo>
                      <a:pt x="51" y="245"/>
                    </a:moveTo>
                    <a:cubicBezTo>
                      <a:pt x="105" y="245"/>
                      <a:pt x="105" y="245"/>
                      <a:pt x="105" y="245"/>
                    </a:cubicBezTo>
                    <a:cubicBezTo>
                      <a:pt x="110" y="264"/>
                      <a:pt x="116" y="281"/>
                      <a:pt x="124" y="293"/>
                    </a:cubicBezTo>
                    <a:cubicBezTo>
                      <a:pt x="94" y="285"/>
                      <a:pt x="69" y="268"/>
                      <a:pt x="51" y="245"/>
                    </a:cubicBezTo>
                    <a:close/>
                    <a:moveTo>
                      <a:pt x="196" y="293"/>
                    </a:moveTo>
                    <a:cubicBezTo>
                      <a:pt x="203" y="281"/>
                      <a:pt x="210" y="264"/>
                      <a:pt x="214" y="245"/>
                    </a:cubicBezTo>
                    <a:cubicBezTo>
                      <a:pt x="269" y="245"/>
                      <a:pt x="269" y="245"/>
                      <a:pt x="269" y="245"/>
                    </a:cubicBezTo>
                    <a:cubicBezTo>
                      <a:pt x="251" y="268"/>
                      <a:pt x="225" y="285"/>
                      <a:pt x="196" y="29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" name="Freeform 55">
                <a:extLst>
                  <a:ext uri="{FF2B5EF4-FFF2-40B4-BE49-F238E27FC236}">
                    <a16:creationId xmlns:a16="http://schemas.microsoft.com/office/drawing/2014/main" id="{C6023F7A-281F-C844-BA27-C60AACC50B4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83" y="1046"/>
                <a:ext cx="340" cy="341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A6030B49-ABBA-714D-8A34-EC40E7E014FC}"/>
                </a:ext>
              </a:extLst>
            </p:cNvPr>
            <p:cNvGrpSpPr/>
            <p:nvPr/>
          </p:nvGrpSpPr>
          <p:grpSpPr>
            <a:xfrm>
              <a:off x="11116624" y="173688"/>
              <a:ext cx="365760" cy="365760"/>
              <a:chOff x="6806797" y="2076826"/>
              <a:chExt cx="685804" cy="685804"/>
            </a:xfrm>
            <a:solidFill>
              <a:schemeClr val="bg1">
                <a:lumMod val="75000"/>
              </a:schemeClr>
            </a:solidFill>
          </p:grpSpPr>
          <p:sp>
            <p:nvSpPr>
              <p:cNvPr id="15" name="Freeform 623">
                <a:extLst>
                  <a:ext uri="{FF2B5EF4-FFF2-40B4-BE49-F238E27FC236}">
                    <a16:creationId xmlns:a16="http://schemas.microsoft.com/office/drawing/2014/main" id="{A4FD5118-54E1-AB45-A285-8EC74B0C2A0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06797" y="2076826"/>
                <a:ext cx="685804" cy="685804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pic>
            <p:nvPicPr>
              <p:cNvPr id="16" name="Graphic 15" descr="Target">
                <a:extLst>
                  <a:ext uri="{FF2B5EF4-FFF2-40B4-BE49-F238E27FC236}">
                    <a16:creationId xmlns:a16="http://schemas.microsoft.com/office/drawing/2014/main" id="{F49CF584-F4A5-1646-8AF3-B500F507B81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6852519" y="2122548"/>
                <a:ext cx="594360" cy="594360"/>
              </a:xfrm>
              <a:prstGeom prst="rect">
                <a:avLst/>
              </a:prstGeom>
            </p:spPr>
          </p:pic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7F71AAC5-B834-D242-BB6F-8A482CE61E94}"/>
                </a:ext>
              </a:extLst>
            </p:cNvPr>
            <p:cNvGrpSpPr/>
            <p:nvPr/>
          </p:nvGrpSpPr>
          <p:grpSpPr>
            <a:xfrm>
              <a:off x="11538918" y="173688"/>
              <a:ext cx="365760" cy="365760"/>
              <a:chOff x="6806753" y="3091011"/>
              <a:chExt cx="685800" cy="685800"/>
            </a:xfrm>
            <a:solidFill>
              <a:schemeClr val="bg1">
                <a:lumMod val="75000"/>
              </a:schemeClr>
            </a:solidFill>
          </p:grpSpPr>
          <p:sp>
            <p:nvSpPr>
              <p:cNvPr id="13" name="Freeform 727">
                <a:extLst>
                  <a:ext uri="{FF2B5EF4-FFF2-40B4-BE49-F238E27FC236}">
                    <a16:creationId xmlns:a16="http://schemas.microsoft.com/office/drawing/2014/main" id="{EB066332-9C45-C14B-878C-C484243F361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06753" y="3091011"/>
                <a:ext cx="685800" cy="685800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pic>
            <p:nvPicPr>
              <p:cNvPr id="14" name="Graphic 13" descr="Head with gears">
                <a:extLst>
                  <a:ext uri="{FF2B5EF4-FFF2-40B4-BE49-F238E27FC236}">
                    <a16:creationId xmlns:a16="http://schemas.microsoft.com/office/drawing/2014/main" id="{4B6CB2A0-BC97-DA40-A5FE-F028EA0A512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6932592" y="3216850"/>
                <a:ext cx="434123" cy="434123"/>
              </a:xfrm>
              <a:prstGeom prst="rect">
                <a:avLst/>
              </a:prstGeom>
            </p:spPr>
          </p:pic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BF1345B2-7AD3-6A47-B893-68DE43D819F9}"/>
                </a:ext>
              </a:extLst>
            </p:cNvPr>
            <p:cNvGrpSpPr/>
            <p:nvPr/>
          </p:nvGrpSpPr>
          <p:grpSpPr>
            <a:xfrm>
              <a:off x="10694331" y="173688"/>
              <a:ext cx="365760" cy="365760"/>
              <a:chOff x="6806753" y="2142199"/>
              <a:chExt cx="685804" cy="685804"/>
            </a:xfrm>
          </p:grpSpPr>
          <p:sp>
            <p:nvSpPr>
              <p:cNvPr id="11" name="Freeform 623">
                <a:extLst>
                  <a:ext uri="{FF2B5EF4-FFF2-40B4-BE49-F238E27FC236}">
                    <a16:creationId xmlns:a16="http://schemas.microsoft.com/office/drawing/2014/main" id="{15FD7F61-1750-854A-9E62-FE580DC1D5E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06753" y="2142199"/>
                <a:ext cx="685804" cy="685804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solidFill>
                <a:srgbClr val="36B9E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pic>
            <p:nvPicPr>
              <p:cNvPr id="12" name="Graphic 11" descr="Badge Tick outline">
                <a:extLst>
                  <a:ext uri="{FF2B5EF4-FFF2-40B4-BE49-F238E27FC236}">
                    <a16:creationId xmlns:a16="http://schemas.microsoft.com/office/drawing/2014/main" id="{32933E97-681E-AD44-99AA-4FDAFC6D4F0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6834429" y="2170883"/>
                <a:ext cx="628436" cy="628436"/>
              </a:xfrm>
              <a:prstGeom prst="rect">
                <a:avLst/>
              </a:prstGeom>
            </p:spPr>
          </p:pic>
        </p:grpSp>
      </p:grpSp>
      <p:sp>
        <p:nvSpPr>
          <p:cNvPr id="23" name="Content Placeholder 1">
            <a:extLst>
              <a:ext uri="{FF2B5EF4-FFF2-40B4-BE49-F238E27FC236}">
                <a16:creationId xmlns:a16="http://schemas.microsoft.com/office/drawing/2014/main" id="{BEE15851-939A-1A44-A774-AF03855559D8}"/>
              </a:ext>
            </a:extLst>
          </p:cNvPr>
          <p:cNvSpPr txBox="1">
            <a:spLocks/>
          </p:cNvSpPr>
          <p:nvPr/>
        </p:nvSpPr>
        <p:spPr>
          <a:xfrm>
            <a:off x="464998" y="1676400"/>
            <a:ext cx="2397946" cy="4705351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 spc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spc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spc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spc="0" baseline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spc="0" baseline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By default the notebook is set to read a local csv file named “AI350_mockdata”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o read in live data, connect the notebook to Snowflake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BF9A7E20-C5DD-2A4A-9E70-AA50A0E9B7BA}"/>
              </a:ext>
            </a:extLst>
          </p:cNvPr>
          <p:cNvSpPr txBox="1">
            <a:spLocks/>
          </p:cNvSpPr>
          <p:nvPr/>
        </p:nvSpPr>
        <p:spPr>
          <a:xfrm>
            <a:off x="469900" y="1127760"/>
            <a:ext cx="2393043" cy="548640"/>
          </a:xfrm>
          <a:prstGeom prst="rect">
            <a:avLst/>
          </a:prstGeom>
          <a:solidFill>
            <a:srgbClr val="7ACAEE"/>
          </a:solidFill>
        </p:spPr>
        <p:txBody>
          <a:bodyPr anchor="ctr"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 spc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spc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spc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spc="0" baseline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spc="0" baseline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/>
              <a:t>Slider Chart Display Setting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E54C6639-15DA-964F-9C4E-0FE7DF983E53}"/>
              </a:ext>
            </a:extLst>
          </p:cNvPr>
          <p:cNvSpPr txBox="1"/>
          <p:nvPr/>
        </p:nvSpPr>
        <p:spPr>
          <a:xfrm>
            <a:off x="3033859" y="3428999"/>
            <a:ext cx="280193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1000" dirty="0">
                <a:solidFill>
                  <a:srgbClr val="31313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ilter and display settings for Slider charts.</a:t>
            </a:r>
          </a:p>
        </p:txBody>
      </p:sp>
      <p:pic>
        <p:nvPicPr>
          <p:cNvPr id="5" name="Picture 4" descr="Chart&#10;&#10;Description automatically generated with low confidence">
            <a:extLst>
              <a:ext uri="{FF2B5EF4-FFF2-40B4-BE49-F238E27FC236}">
                <a16:creationId xmlns:a16="http://schemas.microsoft.com/office/drawing/2014/main" id="{4F3FE32D-71C8-BE45-A30F-B126BAE4CBF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11533" y="1127761"/>
            <a:ext cx="4837523" cy="2301240"/>
          </a:xfrm>
          <a:prstGeom prst="rect">
            <a:avLst/>
          </a:prstGeom>
        </p:spPr>
      </p:pic>
      <p:pic>
        <p:nvPicPr>
          <p:cNvPr id="4" name="Picture 3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9BEB86B3-3978-7D42-9FB7-7907A4415AE4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820"/>
          <a:stretch/>
        </p:blipFill>
        <p:spPr>
          <a:xfrm>
            <a:off x="3033859" y="3780720"/>
            <a:ext cx="1292238" cy="2247867"/>
          </a:xfrm>
          <a:prstGeom prst="rect">
            <a:avLst/>
          </a:prstGeom>
        </p:spPr>
      </p:pic>
      <p:pic>
        <p:nvPicPr>
          <p:cNvPr id="22" name="Picture 21" descr="Graphical user interface&#10;&#10;Description automatically generated with low confidence">
            <a:extLst>
              <a:ext uri="{FF2B5EF4-FFF2-40B4-BE49-F238E27FC236}">
                <a16:creationId xmlns:a16="http://schemas.microsoft.com/office/drawing/2014/main" id="{DD80601B-631C-8946-9B48-CB59283D0F8F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29"/>
          <a:stretch/>
        </p:blipFill>
        <p:spPr>
          <a:xfrm>
            <a:off x="4497011" y="3780720"/>
            <a:ext cx="3368893" cy="1754777"/>
          </a:xfrm>
          <a:prstGeom prst="rect">
            <a:avLst/>
          </a:prstGeom>
          <a:ln>
            <a:solidFill>
              <a:schemeClr val="bg2"/>
            </a:solidFill>
          </a:ln>
        </p:spPr>
      </p:pic>
      <p:pic>
        <p:nvPicPr>
          <p:cNvPr id="28" name="Picture 27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3C68859C-E126-AB42-BDFC-621E8967985D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7574" y="1127760"/>
            <a:ext cx="2801930" cy="4010727"/>
          </a:xfrm>
          <a:prstGeom prst="rect">
            <a:avLst/>
          </a:prstGeom>
          <a:ln>
            <a:solidFill>
              <a:srgbClr val="C00000"/>
            </a:solidFill>
          </a:ln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D1402C73-11CF-7C4E-9D24-9E3B9BDF2DEB}"/>
              </a:ext>
            </a:extLst>
          </p:cNvPr>
          <p:cNvSpPr txBox="1"/>
          <p:nvPr/>
        </p:nvSpPr>
        <p:spPr>
          <a:xfrm>
            <a:off x="3033859" y="6025444"/>
            <a:ext cx="1696185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1000" dirty="0">
                <a:solidFill>
                  <a:srgbClr val="31313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how X Axis by right clicking AVG(Value) in the Columns area and “Show Header”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5B0F2FAE-0BA6-144D-866D-D922D1923866}"/>
              </a:ext>
            </a:extLst>
          </p:cNvPr>
          <p:cNvSpPr txBox="1"/>
          <p:nvPr/>
        </p:nvSpPr>
        <p:spPr>
          <a:xfrm>
            <a:off x="4501991" y="5532674"/>
            <a:ext cx="334706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1000" dirty="0">
                <a:solidFill>
                  <a:srgbClr val="31313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X Axis displayed. Format X Axis.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2A5C5316-323A-EA49-98EA-79256D4CADFF}"/>
              </a:ext>
            </a:extLst>
          </p:cNvPr>
          <p:cNvSpPr txBox="1"/>
          <p:nvPr/>
        </p:nvSpPr>
        <p:spPr>
          <a:xfrm>
            <a:off x="8497575" y="5173472"/>
            <a:ext cx="280193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1000" b="1" dirty="0">
                <a:solidFill>
                  <a:srgbClr val="C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X Axis Should be set with a Fixed start of 0 and Fixed end of 4.</a:t>
            </a:r>
          </a:p>
        </p:txBody>
      </p:sp>
    </p:spTree>
    <p:extLst>
      <p:ext uri="{BB962C8B-B14F-4D97-AF65-F5344CB8AC3E}">
        <p14:creationId xmlns:p14="http://schemas.microsoft.com/office/powerpoint/2010/main" val="621313878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worm&#10;&#10;Description automatically generated">
            <a:extLst>
              <a:ext uri="{FF2B5EF4-FFF2-40B4-BE49-F238E27FC236}">
                <a16:creationId xmlns:a16="http://schemas.microsoft.com/office/drawing/2014/main" id="{519AB74C-A9C8-4A6A-844B-FF1034857D37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2389" y="668313"/>
            <a:ext cx="6392914" cy="6392914"/>
          </a:xfrm>
          <a:prstGeom prst="rect">
            <a:avLst/>
          </a:prstGeom>
        </p:spPr>
      </p:pic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pc="0"/>
              <a:t>Table of Contents</a:t>
            </a: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166FC5E4-0ABA-4923-81DA-A90E86BC7FB0}"/>
              </a:ext>
            </a:extLst>
          </p:cNvPr>
          <p:cNvSpPr txBox="1"/>
          <p:nvPr/>
        </p:nvSpPr>
        <p:spPr>
          <a:xfrm rot="3660000">
            <a:off x="560714" y="4782040"/>
            <a:ext cx="1246463" cy="602363"/>
          </a:xfrm>
          <a:prstGeom prst="rect">
            <a:avLst/>
          </a:prstGeom>
          <a:noFill/>
        </p:spPr>
        <p:txBody>
          <a:bodyPr wrap="square" lIns="0" tIns="0" rIns="0" bIns="0" rtlCol="0">
            <a:prstTxWarp prst="textArchDown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200" b="1" i="0" u="none" strike="noStrike" kern="0" cap="none" spc="10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ATA</a:t>
            </a:r>
          </a:p>
        </p:txBody>
      </p: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1E409647-5009-4CFA-B791-074F28E39EFA}"/>
              </a:ext>
            </a:extLst>
          </p:cNvPr>
          <p:cNvCxnSpPr>
            <a:cxnSpLocks/>
          </p:cNvCxnSpPr>
          <p:nvPr/>
        </p:nvCxnSpPr>
        <p:spPr>
          <a:xfrm rot="6986220">
            <a:off x="1022041" y="4620663"/>
            <a:ext cx="252856" cy="228746"/>
          </a:xfrm>
          <a:prstGeom prst="line">
            <a:avLst/>
          </a:prstGeom>
          <a:noFill/>
          <a:ln w="254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</p:cxnSp>
      <p:sp>
        <p:nvSpPr>
          <p:cNvPr id="115" name="TextBox 114">
            <a:extLst>
              <a:ext uri="{FF2B5EF4-FFF2-40B4-BE49-F238E27FC236}">
                <a16:creationId xmlns:a16="http://schemas.microsoft.com/office/drawing/2014/main" id="{C17F375F-AFDD-40DA-B224-E01BA503C699}"/>
              </a:ext>
            </a:extLst>
          </p:cNvPr>
          <p:cNvSpPr txBox="1"/>
          <p:nvPr/>
        </p:nvSpPr>
        <p:spPr>
          <a:xfrm rot="4564415">
            <a:off x="716479" y="4164057"/>
            <a:ext cx="1082901" cy="289292"/>
          </a:xfrm>
          <a:prstGeom prst="rect">
            <a:avLst/>
          </a:prstGeom>
          <a:noFill/>
        </p:spPr>
        <p:txBody>
          <a:bodyPr wrap="square" lIns="0" tIns="0" rIns="0" bIns="0" rtlCol="0">
            <a:prstTxWarp prst="textArchDown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nterprise </a:t>
            </a:r>
            <a:b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ata Strategy</a:t>
            </a: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8C3773F1-D91B-4873-816D-5BA281B91776}"/>
              </a:ext>
            </a:extLst>
          </p:cNvPr>
          <p:cNvSpPr txBox="1"/>
          <p:nvPr/>
        </p:nvSpPr>
        <p:spPr>
          <a:xfrm rot="3710804">
            <a:off x="1081492" y="4857378"/>
            <a:ext cx="718895" cy="196259"/>
          </a:xfrm>
          <a:prstGeom prst="rect">
            <a:avLst/>
          </a:prstGeom>
          <a:noFill/>
        </p:spPr>
        <p:txBody>
          <a:bodyPr wrap="square" lIns="0" tIns="0" rIns="0" bIns="0" rtlCol="0">
            <a:prstTxWarp prst="textArchDown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ata </a:t>
            </a:r>
            <a:b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ngineering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EBA342C9-56FA-41D9-B825-4F175008B22B}"/>
              </a:ext>
            </a:extLst>
          </p:cNvPr>
          <p:cNvSpPr txBox="1"/>
          <p:nvPr/>
        </p:nvSpPr>
        <p:spPr>
          <a:xfrm>
            <a:off x="7510865" y="4382959"/>
            <a:ext cx="4393857" cy="98434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lnSpc>
                <a:spcPct val="85000"/>
              </a:lnSpc>
            </a:pPr>
            <a:r>
              <a:rPr lang="en-US" sz="2000" b="1" dirty="0">
                <a:solidFill>
                  <a:srgbClr val="000000"/>
                </a:solidFill>
                <a:latin typeface="Open Sans" panose="020B0606030504020204" pitchFamily="34" charset="0"/>
                <a:ea typeface="Chronicle Display Black" charset="0"/>
                <a:cs typeface="Chronicle Display Black" charset="0"/>
              </a:rPr>
              <a:t>Data Visualizations</a:t>
            </a:r>
          </a:p>
          <a:p>
            <a:pPr>
              <a:lnSpc>
                <a:spcPct val="110000"/>
              </a:lnSpc>
            </a:pPr>
            <a:r>
              <a:rPr lang="en-US" sz="1200" dirty="0">
                <a:solidFill>
                  <a:srgbClr val="000000"/>
                </a:solidFill>
                <a:latin typeface="Open Sans" panose="020B0606030504020204" pitchFamily="34" charset="0"/>
                <a:cs typeface="Open Sans"/>
              </a:rPr>
              <a:t>Development instructions for text and data visualizations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632FF18F-639D-4774-8D60-FB77ABB1A6CC}"/>
              </a:ext>
            </a:extLst>
          </p:cNvPr>
          <p:cNvGrpSpPr/>
          <p:nvPr/>
        </p:nvGrpSpPr>
        <p:grpSpPr>
          <a:xfrm>
            <a:off x="6806753" y="1062581"/>
            <a:ext cx="5097969" cy="3898597"/>
            <a:chOff x="6806753" y="1062581"/>
            <a:chExt cx="5097969" cy="3898597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8E2C60A2-B0BE-4AB7-BEA3-5304228A8737}"/>
                </a:ext>
              </a:extLst>
            </p:cNvPr>
            <p:cNvSpPr txBox="1"/>
            <p:nvPr/>
          </p:nvSpPr>
          <p:spPr>
            <a:xfrm>
              <a:off x="7510864" y="1196160"/>
              <a:ext cx="4393857" cy="984345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lvl="0">
                <a:lnSpc>
                  <a:spcPct val="85000"/>
                </a:lnSpc>
              </a:pPr>
              <a:r>
                <a:rPr lang="en-US" sz="2000" b="1" dirty="0">
                  <a:solidFill>
                    <a:srgbClr val="000000"/>
                  </a:solidFill>
                  <a:latin typeface="Open Sans" panose="020B0606030504020204" pitchFamily="34" charset="0"/>
                  <a:ea typeface="Chronicle Display Black" charset="0"/>
                  <a:cs typeface="Chronicle Display Black" charset="0"/>
                </a:rPr>
                <a:t>File System &amp; Development</a:t>
              </a:r>
            </a:p>
            <a:p>
              <a:pPr>
                <a:lnSpc>
                  <a:spcPct val="110000"/>
                </a:lnSpc>
              </a:pPr>
              <a:r>
                <a:rPr lang="en-US" sz="1200" dirty="0">
                  <a:solidFill>
                    <a:srgbClr val="000000"/>
                  </a:solidFill>
                  <a:latin typeface="Open Sans" panose="020B0606030504020204" pitchFamily="34" charset="0"/>
                  <a:cs typeface="Open Sans"/>
                </a:rPr>
                <a:t>File locations and checklist to get started</a:t>
              </a:r>
            </a:p>
          </p:txBody>
        </p:sp>
        <p:grpSp>
          <p:nvGrpSpPr>
            <p:cNvPr id="11" name="Group 53">
              <a:extLst>
                <a:ext uri="{FF2B5EF4-FFF2-40B4-BE49-F238E27FC236}">
                  <a16:creationId xmlns:a16="http://schemas.microsoft.com/office/drawing/2014/main" id="{EF77A8B0-B397-4B55-89FF-26E47E0A7F0D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6806753" y="1062581"/>
              <a:ext cx="683788" cy="685801"/>
              <a:chOff x="5183" y="1046"/>
              <a:chExt cx="340" cy="341"/>
            </a:xfrm>
            <a:solidFill>
              <a:srgbClr val="7ACAEE"/>
            </a:solidFill>
          </p:grpSpPr>
          <p:sp>
            <p:nvSpPr>
              <p:cNvPr id="12" name="Freeform 54">
                <a:extLst>
                  <a:ext uri="{FF2B5EF4-FFF2-40B4-BE49-F238E27FC236}">
                    <a16:creationId xmlns:a16="http://schemas.microsoft.com/office/drawing/2014/main" id="{6445DF82-ACBA-4B50-A349-B575DF7D43A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47" y="1110"/>
                <a:ext cx="212" cy="213"/>
              </a:xfrm>
              <a:custGeom>
                <a:avLst/>
                <a:gdLst>
                  <a:gd name="T0" fmla="*/ 160 w 320"/>
                  <a:gd name="T1" fmla="*/ 0 h 320"/>
                  <a:gd name="T2" fmla="*/ 0 w 320"/>
                  <a:gd name="T3" fmla="*/ 160 h 320"/>
                  <a:gd name="T4" fmla="*/ 160 w 320"/>
                  <a:gd name="T5" fmla="*/ 320 h 320"/>
                  <a:gd name="T6" fmla="*/ 320 w 320"/>
                  <a:gd name="T7" fmla="*/ 160 h 320"/>
                  <a:gd name="T8" fmla="*/ 160 w 320"/>
                  <a:gd name="T9" fmla="*/ 0 h 320"/>
                  <a:gd name="T10" fmla="*/ 283 w 320"/>
                  <a:gd name="T11" fmla="*/ 224 h 320"/>
                  <a:gd name="T12" fmla="*/ 218 w 320"/>
                  <a:gd name="T13" fmla="*/ 224 h 320"/>
                  <a:gd name="T14" fmla="*/ 223 w 320"/>
                  <a:gd name="T15" fmla="*/ 170 h 320"/>
                  <a:gd name="T16" fmla="*/ 298 w 320"/>
                  <a:gd name="T17" fmla="*/ 170 h 320"/>
                  <a:gd name="T18" fmla="*/ 283 w 320"/>
                  <a:gd name="T19" fmla="*/ 224 h 320"/>
                  <a:gd name="T20" fmla="*/ 160 w 320"/>
                  <a:gd name="T21" fmla="*/ 298 h 320"/>
                  <a:gd name="T22" fmla="*/ 127 w 320"/>
                  <a:gd name="T23" fmla="*/ 245 h 320"/>
                  <a:gd name="T24" fmla="*/ 192 w 320"/>
                  <a:gd name="T25" fmla="*/ 245 h 320"/>
                  <a:gd name="T26" fmla="*/ 160 w 320"/>
                  <a:gd name="T27" fmla="*/ 298 h 320"/>
                  <a:gd name="T28" fmla="*/ 122 w 320"/>
                  <a:gd name="T29" fmla="*/ 224 h 320"/>
                  <a:gd name="T30" fmla="*/ 117 w 320"/>
                  <a:gd name="T31" fmla="*/ 170 h 320"/>
                  <a:gd name="T32" fmla="*/ 202 w 320"/>
                  <a:gd name="T33" fmla="*/ 170 h 320"/>
                  <a:gd name="T34" fmla="*/ 197 w 320"/>
                  <a:gd name="T35" fmla="*/ 224 h 320"/>
                  <a:gd name="T36" fmla="*/ 122 w 320"/>
                  <a:gd name="T37" fmla="*/ 224 h 320"/>
                  <a:gd name="T38" fmla="*/ 22 w 320"/>
                  <a:gd name="T39" fmla="*/ 170 h 320"/>
                  <a:gd name="T40" fmla="*/ 96 w 320"/>
                  <a:gd name="T41" fmla="*/ 170 h 320"/>
                  <a:gd name="T42" fmla="*/ 101 w 320"/>
                  <a:gd name="T43" fmla="*/ 224 h 320"/>
                  <a:gd name="T44" fmla="*/ 37 w 320"/>
                  <a:gd name="T45" fmla="*/ 224 h 320"/>
                  <a:gd name="T46" fmla="*/ 22 w 320"/>
                  <a:gd name="T47" fmla="*/ 170 h 320"/>
                  <a:gd name="T48" fmla="*/ 37 w 320"/>
                  <a:gd name="T49" fmla="*/ 96 h 320"/>
                  <a:gd name="T50" fmla="*/ 101 w 320"/>
                  <a:gd name="T51" fmla="*/ 96 h 320"/>
                  <a:gd name="T52" fmla="*/ 96 w 320"/>
                  <a:gd name="T53" fmla="*/ 149 h 320"/>
                  <a:gd name="T54" fmla="*/ 22 w 320"/>
                  <a:gd name="T55" fmla="*/ 149 h 320"/>
                  <a:gd name="T56" fmla="*/ 37 w 320"/>
                  <a:gd name="T57" fmla="*/ 96 h 320"/>
                  <a:gd name="T58" fmla="*/ 160 w 320"/>
                  <a:gd name="T59" fmla="*/ 21 h 320"/>
                  <a:gd name="T60" fmla="*/ 192 w 320"/>
                  <a:gd name="T61" fmla="*/ 74 h 320"/>
                  <a:gd name="T62" fmla="*/ 127 w 320"/>
                  <a:gd name="T63" fmla="*/ 74 h 320"/>
                  <a:gd name="T64" fmla="*/ 160 w 320"/>
                  <a:gd name="T65" fmla="*/ 21 h 320"/>
                  <a:gd name="T66" fmla="*/ 197 w 320"/>
                  <a:gd name="T67" fmla="*/ 96 h 320"/>
                  <a:gd name="T68" fmla="*/ 202 w 320"/>
                  <a:gd name="T69" fmla="*/ 149 h 320"/>
                  <a:gd name="T70" fmla="*/ 117 w 320"/>
                  <a:gd name="T71" fmla="*/ 149 h 320"/>
                  <a:gd name="T72" fmla="*/ 122 w 320"/>
                  <a:gd name="T73" fmla="*/ 96 h 320"/>
                  <a:gd name="T74" fmla="*/ 197 w 320"/>
                  <a:gd name="T75" fmla="*/ 96 h 320"/>
                  <a:gd name="T76" fmla="*/ 223 w 320"/>
                  <a:gd name="T77" fmla="*/ 149 h 320"/>
                  <a:gd name="T78" fmla="*/ 218 w 320"/>
                  <a:gd name="T79" fmla="*/ 96 h 320"/>
                  <a:gd name="T80" fmla="*/ 283 w 320"/>
                  <a:gd name="T81" fmla="*/ 96 h 320"/>
                  <a:gd name="T82" fmla="*/ 298 w 320"/>
                  <a:gd name="T83" fmla="*/ 149 h 320"/>
                  <a:gd name="T84" fmla="*/ 223 w 320"/>
                  <a:gd name="T85" fmla="*/ 149 h 320"/>
                  <a:gd name="T86" fmla="*/ 269 w 320"/>
                  <a:gd name="T87" fmla="*/ 74 h 320"/>
                  <a:gd name="T88" fmla="*/ 214 w 320"/>
                  <a:gd name="T89" fmla="*/ 74 h 320"/>
                  <a:gd name="T90" fmla="*/ 196 w 320"/>
                  <a:gd name="T91" fmla="*/ 26 h 320"/>
                  <a:gd name="T92" fmla="*/ 269 w 320"/>
                  <a:gd name="T93" fmla="*/ 74 h 320"/>
                  <a:gd name="T94" fmla="*/ 124 w 320"/>
                  <a:gd name="T95" fmla="*/ 26 h 320"/>
                  <a:gd name="T96" fmla="*/ 105 w 320"/>
                  <a:gd name="T97" fmla="*/ 74 h 320"/>
                  <a:gd name="T98" fmla="*/ 51 w 320"/>
                  <a:gd name="T99" fmla="*/ 74 h 320"/>
                  <a:gd name="T100" fmla="*/ 124 w 320"/>
                  <a:gd name="T101" fmla="*/ 26 h 320"/>
                  <a:gd name="T102" fmla="*/ 51 w 320"/>
                  <a:gd name="T103" fmla="*/ 245 h 320"/>
                  <a:gd name="T104" fmla="*/ 105 w 320"/>
                  <a:gd name="T105" fmla="*/ 245 h 320"/>
                  <a:gd name="T106" fmla="*/ 124 w 320"/>
                  <a:gd name="T107" fmla="*/ 293 h 320"/>
                  <a:gd name="T108" fmla="*/ 51 w 320"/>
                  <a:gd name="T109" fmla="*/ 245 h 320"/>
                  <a:gd name="T110" fmla="*/ 196 w 320"/>
                  <a:gd name="T111" fmla="*/ 293 h 320"/>
                  <a:gd name="T112" fmla="*/ 214 w 320"/>
                  <a:gd name="T113" fmla="*/ 245 h 320"/>
                  <a:gd name="T114" fmla="*/ 269 w 320"/>
                  <a:gd name="T115" fmla="*/ 245 h 320"/>
                  <a:gd name="T116" fmla="*/ 196 w 320"/>
                  <a:gd name="T117" fmla="*/ 293 h 3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320" h="320">
                    <a:moveTo>
                      <a:pt x="160" y="0"/>
                    </a:moveTo>
                    <a:cubicBezTo>
                      <a:pt x="71" y="0"/>
                      <a:pt x="0" y="71"/>
                      <a:pt x="0" y="160"/>
                    </a:cubicBezTo>
                    <a:cubicBezTo>
                      <a:pt x="0" y="248"/>
                      <a:pt x="71" y="320"/>
                      <a:pt x="160" y="320"/>
                    </a:cubicBezTo>
                    <a:cubicBezTo>
                      <a:pt x="248" y="320"/>
                      <a:pt x="320" y="248"/>
                      <a:pt x="320" y="160"/>
                    </a:cubicBezTo>
                    <a:cubicBezTo>
                      <a:pt x="320" y="71"/>
                      <a:pt x="248" y="0"/>
                      <a:pt x="160" y="0"/>
                    </a:cubicBezTo>
                    <a:close/>
                    <a:moveTo>
                      <a:pt x="283" y="224"/>
                    </a:moveTo>
                    <a:cubicBezTo>
                      <a:pt x="218" y="224"/>
                      <a:pt x="218" y="224"/>
                      <a:pt x="218" y="224"/>
                    </a:cubicBezTo>
                    <a:cubicBezTo>
                      <a:pt x="221" y="207"/>
                      <a:pt x="223" y="188"/>
                      <a:pt x="223" y="170"/>
                    </a:cubicBezTo>
                    <a:cubicBezTo>
                      <a:pt x="298" y="170"/>
                      <a:pt x="298" y="170"/>
                      <a:pt x="298" y="170"/>
                    </a:cubicBezTo>
                    <a:cubicBezTo>
                      <a:pt x="296" y="189"/>
                      <a:pt x="291" y="207"/>
                      <a:pt x="283" y="224"/>
                    </a:cubicBezTo>
                    <a:close/>
                    <a:moveTo>
                      <a:pt x="160" y="298"/>
                    </a:moveTo>
                    <a:cubicBezTo>
                      <a:pt x="149" y="298"/>
                      <a:pt x="136" y="279"/>
                      <a:pt x="127" y="245"/>
                    </a:cubicBezTo>
                    <a:cubicBezTo>
                      <a:pt x="192" y="245"/>
                      <a:pt x="192" y="245"/>
                      <a:pt x="192" y="245"/>
                    </a:cubicBezTo>
                    <a:cubicBezTo>
                      <a:pt x="183" y="279"/>
                      <a:pt x="170" y="298"/>
                      <a:pt x="160" y="298"/>
                    </a:cubicBezTo>
                    <a:close/>
                    <a:moveTo>
                      <a:pt x="122" y="224"/>
                    </a:moveTo>
                    <a:cubicBezTo>
                      <a:pt x="120" y="208"/>
                      <a:pt x="118" y="190"/>
                      <a:pt x="117" y="170"/>
                    </a:cubicBezTo>
                    <a:cubicBezTo>
                      <a:pt x="202" y="170"/>
                      <a:pt x="202" y="170"/>
                      <a:pt x="202" y="170"/>
                    </a:cubicBezTo>
                    <a:cubicBezTo>
                      <a:pt x="202" y="190"/>
                      <a:pt x="200" y="208"/>
                      <a:pt x="197" y="224"/>
                    </a:cubicBezTo>
                    <a:lnTo>
                      <a:pt x="122" y="224"/>
                    </a:lnTo>
                    <a:close/>
                    <a:moveTo>
                      <a:pt x="22" y="170"/>
                    </a:moveTo>
                    <a:cubicBezTo>
                      <a:pt x="96" y="170"/>
                      <a:pt x="96" y="170"/>
                      <a:pt x="96" y="170"/>
                    </a:cubicBezTo>
                    <a:cubicBezTo>
                      <a:pt x="96" y="188"/>
                      <a:pt x="98" y="207"/>
                      <a:pt x="101" y="224"/>
                    </a:cubicBezTo>
                    <a:cubicBezTo>
                      <a:pt x="37" y="224"/>
                      <a:pt x="37" y="224"/>
                      <a:pt x="37" y="224"/>
                    </a:cubicBezTo>
                    <a:cubicBezTo>
                      <a:pt x="28" y="207"/>
                      <a:pt x="23" y="189"/>
                      <a:pt x="22" y="170"/>
                    </a:cubicBezTo>
                    <a:close/>
                    <a:moveTo>
                      <a:pt x="37" y="96"/>
                    </a:moveTo>
                    <a:cubicBezTo>
                      <a:pt x="101" y="96"/>
                      <a:pt x="101" y="96"/>
                      <a:pt x="101" y="96"/>
                    </a:cubicBezTo>
                    <a:cubicBezTo>
                      <a:pt x="98" y="113"/>
                      <a:pt x="96" y="131"/>
                      <a:pt x="96" y="149"/>
                    </a:cubicBezTo>
                    <a:cubicBezTo>
                      <a:pt x="22" y="149"/>
                      <a:pt x="22" y="149"/>
                      <a:pt x="22" y="149"/>
                    </a:cubicBezTo>
                    <a:cubicBezTo>
                      <a:pt x="23" y="130"/>
                      <a:pt x="28" y="112"/>
                      <a:pt x="37" y="96"/>
                    </a:cubicBezTo>
                    <a:close/>
                    <a:moveTo>
                      <a:pt x="160" y="21"/>
                    </a:moveTo>
                    <a:cubicBezTo>
                      <a:pt x="170" y="21"/>
                      <a:pt x="183" y="41"/>
                      <a:pt x="192" y="74"/>
                    </a:cubicBezTo>
                    <a:cubicBezTo>
                      <a:pt x="127" y="74"/>
                      <a:pt x="127" y="74"/>
                      <a:pt x="127" y="74"/>
                    </a:cubicBezTo>
                    <a:cubicBezTo>
                      <a:pt x="136" y="41"/>
                      <a:pt x="149" y="21"/>
                      <a:pt x="160" y="21"/>
                    </a:cubicBezTo>
                    <a:close/>
                    <a:moveTo>
                      <a:pt x="197" y="96"/>
                    </a:moveTo>
                    <a:cubicBezTo>
                      <a:pt x="200" y="111"/>
                      <a:pt x="202" y="129"/>
                      <a:pt x="202" y="149"/>
                    </a:cubicBezTo>
                    <a:cubicBezTo>
                      <a:pt x="117" y="149"/>
                      <a:pt x="117" y="149"/>
                      <a:pt x="117" y="149"/>
                    </a:cubicBezTo>
                    <a:cubicBezTo>
                      <a:pt x="118" y="129"/>
                      <a:pt x="120" y="111"/>
                      <a:pt x="122" y="96"/>
                    </a:cubicBezTo>
                    <a:lnTo>
                      <a:pt x="197" y="96"/>
                    </a:lnTo>
                    <a:close/>
                    <a:moveTo>
                      <a:pt x="223" y="149"/>
                    </a:moveTo>
                    <a:cubicBezTo>
                      <a:pt x="223" y="131"/>
                      <a:pt x="221" y="113"/>
                      <a:pt x="218" y="96"/>
                    </a:cubicBezTo>
                    <a:cubicBezTo>
                      <a:pt x="283" y="96"/>
                      <a:pt x="283" y="96"/>
                      <a:pt x="283" y="96"/>
                    </a:cubicBezTo>
                    <a:cubicBezTo>
                      <a:pt x="291" y="112"/>
                      <a:pt x="296" y="130"/>
                      <a:pt x="298" y="149"/>
                    </a:cubicBezTo>
                    <a:lnTo>
                      <a:pt x="223" y="149"/>
                    </a:lnTo>
                    <a:close/>
                    <a:moveTo>
                      <a:pt x="269" y="74"/>
                    </a:moveTo>
                    <a:cubicBezTo>
                      <a:pt x="214" y="74"/>
                      <a:pt x="214" y="74"/>
                      <a:pt x="214" y="74"/>
                    </a:cubicBezTo>
                    <a:cubicBezTo>
                      <a:pt x="210" y="55"/>
                      <a:pt x="203" y="39"/>
                      <a:pt x="196" y="26"/>
                    </a:cubicBezTo>
                    <a:cubicBezTo>
                      <a:pt x="225" y="34"/>
                      <a:pt x="251" y="51"/>
                      <a:pt x="269" y="74"/>
                    </a:cubicBezTo>
                    <a:close/>
                    <a:moveTo>
                      <a:pt x="124" y="26"/>
                    </a:moveTo>
                    <a:cubicBezTo>
                      <a:pt x="116" y="39"/>
                      <a:pt x="110" y="55"/>
                      <a:pt x="105" y="74"/>
                    </a:cubicBezTo>
                    <a:cubicBezTo>
                      <a:pt x="51" y="74"/>
                      <a:pt x="51" y="74"/>
                      <a:pt x="51" y="74"/>
                    </a:cubicBezTo>
                    <a:cubicBezTo>
                      <a:pt x="69" y="51"/>
                      <a:pt x="94" y="34"/>
                      <a:pt x="124" y="26"/>
                    </a:cubicBezTo>
                    <a:close/>
                    <a:moveTo>
                      <a:pt x="51" y="245"/>
                    </a:moveTo>
                    <a:cubicBezTo>
                      <a:pt x="105" y="245"/>
                      <a:pt x="105" y="245"/>
                      <a:pt x="105" y="245"/>
                    </a:cubicBezTo>
                    <a:cubicBezTo>
                      <a:pt x="110" y="264"/>
                      <a:pt x="116" y="281"/>
                      <a:pt x="124" y="293"/>
                    </a:cubicBezTo>
                    <a:cubicBezTo>
                      <a:pt x="94" y="285"/>
                      <a:pt x="69" y="268"/>
                      <a:pt x="51" y="245"/>
                    </a:cubicBezTo>
                    <a:close/>
                    <a:moveTo>
                      <a:pt x="196" y="293"/>
                    </a:moveTo>
                    <a:cubicBezTo>
                      <a:pt x="203" y="281"/>
                      <a:pt x="210" y="264"/>
                      <a:pt x="214" y="245"/>
                    </a:cubicBezTo>
                    <a:cubicBezTo>
                      <a:pt x="269" y="245"/>
                      <a:pt x="269" y="245"/>
                      <a:pt x="269" y="245"/>
                    </a:cubicBezTo>
                    <a:cubicBezTo>
                      <a:pt x="251" y="268"/>
                      <a:pt x="225" y="285"/>
                      <a:pt x="196" y="29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3" name="Freeform 55">
                <a:extLst>
                  <a:ext uri="{FF2B5EF4-FFF2-40B4-BE49-F238E27FC236}">
                    <a16:creationId xmlns:a16="http://schemas.microsoft.com/office/drawing/2014/main" id="{640C208A-4118-4A74-BEA5-588EFD271B4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83" y="1046"/>
                <a:ext cx="340" cy="341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CD8DE107-0209-4CBA-A6D4-9950BFDDBCCC}"/>
                </a:ext>
              </a:extLst>
            </p:cNvPr>
            <p:cNvSpPr txBox="1"/>
            <p:nvPr/>
          </p:nvSpPr>
          <p:spPr>
            <a:xfrm>
              <a:off x="7510865" y="3329338"/>
              <a:ext cx="4393857" cy="984345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lvl="0">
                <a:lnSpc>
                  <a:spcPct val="85000"/>
                </a:lnSpc>
              </a:pPr>
              <a:r>
                <a:rPr lang="en-US" sz="2000" b="1" dirty="0">
                  <a:solidFill>
                    <a:srgbClr val="000000"/>
                  </a:solidFill>
                  <a:latin typeface="Open Sans" panose="020B0606030504020204" pitchFamily="34" charset="0"/>
                  <a:ea typeface="Chronicle Display Black" charset="0"/>
                  <a:cs typeface="Chronicle Display Black" charset="0"/>
                </a:rPr>
                <a:t>Filters</a:t>
              </a:r>
            </a:p>
            <a:p>
              <a:pPr>
                <a:lnSpc>
                  <a:spcPct val="110000"/>
                </a:lnSpc>
              </a:pPr>
              <a:r>
                <a:rPr lang="en-US" sz="1200" dirty="0">
                  <a:solidFill>
                    <a:srgbClr val="000000"/>
                  </a:solidFill>
                  <a:latin typeface="Open Sans" panose="020B0606030504020204" pitchFamily="34" charset="0"/>
                  <a:cs typeface="Open Sans"/>
                </a:rPr>
                <a:t>Tableau filter configurations</a:t>
              </a:r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A86E6EC2-5A33-465D-86A7-FB2F3436518F}"/>
                </a:ext>
              </a:extLst>
            </p:cNvPr>
            <p:cNvGrpSpPr/>
            <p:nvPr/>
          </p:nvGrpSpPr>
          <p:grpSpPr>
            <a:xfrm>
              <a:off x="6806797" y="3208788"/>
              <a:ext cx="685804" cy="685804"/>
              <a:chOff x="6806797" y="2076826"/>
              <a:chExt cx="685804" cy="685804"/>
            </a:xfrm>
          </p:grpSpPr>
          <p:sp>
            <p:nvSpPr>
              <p:cNvPr id="32" name="Freeform 623">
                <a:extLst>
                  <a:ext uri="{FF2B5EF4-FFF2-40B4-BE49-F238E27FC236}">
                    <a16:creationId xmlns:a16="http://schemas.microsoft.com/office/drawing/2014/main" id="{2B75559C-AD8E-4DCD-97CA-778EC380FD3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06797" y="2076826"/>
                <a:ext cx="685804" cy="685804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solidFill>
                <a:srgbClr val="13A2DE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pic>
            <p:nvPicPr>
              <p:cNvPr id="5" name="Graphic 4" descr="Target">
                <a:extLst>
                  <a:ext uri="{FF2B5EF4-FFF2-40B4-BE49-F238E27FC236}">
                    <a16:creationId xmlns:a16="http://schemas.microsoft.com/office/drawing/2014/main" id="{EDF20F9A-82FF-4F0A-AED2-5D565AB53A6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6852519" y="2122548"/>
                <a:ext cx="594360" cy="594360"/>
              </a:xfrm>
              <a:prstGeom prst="rect">
                <a:avLst/>
              </a:prstGeom>
            </p:spPr>
          </p:pic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A7EB0657-2578-4EE2-82EB-54F5E0EBA0AB}"/>
                </a:ext>
              </a:extLst>
            </p:cNvPr>
            <p:cNvGrpSpPr/>
            <p:nvPr/>
          </p:nvGrpSpPr>
          <p:grpSpPr>
            <a:xfrm>
              <a:off x="6806753" y="4275378"/>
              <a:ext cx="685800" cy="685800"/>
              <a:chOff x="6806753" y="3091011"/>
              <a:chExt cx="685800" cy="685800"/>
            </a:xfrm>
          </p:grpSpPr>
          <p:sp>
            <p:nvSpPr>
              <p:cNvPr id="18" name="Freeform 727">
                <a:extLst>
                  <a:ext uri="{FF2B5EF4-FFF2-40B4-BE49-F238E27FC236}">
                    <a16:creationId xmlns:a16="http://schemas.microsoft.com/office/drawing/2014/main" id="{F92BFBDF-2AF4-4D43-BACC-99643D4A03C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06753" y="3091011"/>
                <a:ext cx="685800" cy="685800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solidFill>
                <a:srgbClr val="0878AA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pic>
            <p:nvPicPr>
              <p:cNvPr id="7" name="Graphic 6" descr="Head with gears">
                <a:extLst>
                  <a:ext uri="{FF2B5EF4-FFF2-40B4-BE49-F238E27FC236}">
                    <a16:creationId xmlns:a16="http://schemas.microsoft.com/office/drawing/2014/main" id="{52088CCB-08A0-49A7-871E-ED373A702B0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6932592" y="3216850"/>
                <a:ext cx="434123" cy="434123"/>
              </a:xfrm>
              <a:prstGeom prst="rect">
                <a:avLst/>
              </a:prstGeom>
            </p:spPr>
          </p:pic>
        </p:grp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29C41DC4-9A95-4280-B777-EE3814BDC8F4}"/>
                </a:ext>
              </a:extLst>
            </p:cNvPr>
            <p:cNvSpPr txBox="1"/>
            <p:nvPr/>
          </p:nvSpPr>
          <p:spPr>
            <a:xfrm>
              <a:off x="7510821" y="2262749"/>
              <a:ext cx="4393857" cy="984345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lvl="0">
                <a:lnSpc>
                  <a:spcPct val="85000"/>
                </a:lnSpc>
              </a:pPr>
              <a:r>
                <a:rPr lang="en-US" sz="2000" b="1" dirty="0">
                  <a:solidFill>
                    <a:srgbClr val="000000"/>
                  </a:solidFill>
                  <a:latin typeface="Open Sans" panose="020B0606030504020204" pitchFamily="34" charset="0"/>
                  <a:ea typeface="Chronicle Display Black" charset="0"/>
                  <a:cs typeface="Chronicle Display Black" charset="0"/>
                </a:rPr>
                <a:t>File Setup &amp; Data Connection</a:t>
              </a:r>
            </a:p>
            <a:p>
              <a:pPr>
                <a:lnSpc>
                  <a:spcPct val="110000"/>
                </a:lnSpc>
              </a:pPr>
              <a:r>
                <a:rPr lang="en-US" sz="1200" dirty="0">
                  <a:solidFill>
                    <a:srgbClr val="000000"/>
                  </a:solidFill>
                  <a:latin typeface="Open Sans" panose="020B0606030504020204" pitchFamily="34" charset="0"/>
                  <a:cs typeface="Open Sans"/>
                </a:rPr>
                <a:t>Local computer requirements and connection to Snowflake</a:t>
              </a:r>
            </a:p>
          </p:txBody>
        </p: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49917885-9F99-4EAD-8D32-59A894840709}"/>
                </a:ext>
              </a:extLst>
            </p:cNvPr>
            <p:cNvGrpSpPr/>
            <p:nvPr/>
          </p:nvGrpSpPr>
          <p:grpSpPr>
            <a:xfrm>
              <a:off x="6806753" y="2142199"/>
              <a:ext cx="685804" cy="685804"/>
              <a:chOff x="6806753" y="2142199"/>
              <a:chExt cx="685804" cy="685804"/>
            </a:xfrm>
          </p:grpSpPr>
          <p:sp>
            <p:nvSpPr>
              <p:cNvPr id="38" name="Freeform 623">
                <a:extLst>
                  <a:ext uri="{FF2B5EF4-FFF2-40B4-BE49-F238E27FC236}">
                    <a16:creationId xmlns:a16="http://schemas.microsoft.com/office/drawing/2014/main" id="{9904FEA2-3749-4205-869C-A047B4708DF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06753" y="2142199"/>
                <a:ext cx="685804" cy="685804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solidFill>
                <a:srgbClr val="36B9EE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pic>
            <p:nvPicPr>
              <p:cNvPr id="16" name="Graphic 15" descr="Badge Tick outline">
                <a:extLst>
                  <a:ext uri="{FF2B5EF4-FFF2-40B4-BE49-F238E27FC236}">
                    <a16:creationId xmlns:a16="http://schemas.microsoft.com/office/drawing/2014/main" id="{471FCC61-BBAE-40D5-98FC-3FE4FE9667E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6834429" y="2170883"/>
                <a:ext cx="628436" cy="628436"/>
              </a:xfrm>
              <a:prstGeom prst="rect">
                <a:avLst/>
              </a:prstGeom>
            </p:spPr>
          </p:pic>
        </p:grp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52EB8237-369C-4D2D-A047-F00F3AF3635A}"/>
              </a:ext>
            </a:extLst>
          </p:cNvPr>
          <p:cNvGrpSpPr/>
          <p:nvPr/>
        </p:nvGrpSpPr>
        <p:grpSpPr>
          <a:xfrm>
            <a:off x="10272038" y="173150"/>
            <a:ext cx="1632640" cy="366837"/>
            <a:chOff x="-1316961" y="2119727"/>
            <a:chExt cx="1632640" cy="366837"/>
          </a:xfrm>
        </p:grpSpPr>
        <p:grpSp>
          <p:nvGrpSpPr>
            <p:cNvPr id="66" name="Group 53">
              <a:extLst>
                <a:ext uri="{FF2B5EF4-FFF2-40B4-BE49-F238E27FC236}">
                  <a16:creationId xmlns:a16="http://schemas.microsoft.com/office/drawing/2014/main" id="{D84C10B4-6E11-4C5B-9002-C51BB8176511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-1316961" y="2119727"/>
              <a:ext cx="365760" cy="366837"/>
              <a:chOff x="5183" y="1046"/>
              <a:chExt cx="340" cy="341"/>
            </a:xfrm>
            <a:solidFill>
              <a:srgbClr val="7ACAEE"/>
            </a:solidFill>
          </p:grpSpPr>
          <p:sp>
            <p:nvSpPr>
              <p:cNvPr id="67" name="Freeform 54">
                <a:extLst>
                  <a:ext uri="{FF2B5EF4-FFF2-40B4-BE49-F238E27FC236}">
                    <a16:creationId xmlns:a16="http://schemas.microsoft.com/office/drawing/2014/main" id="{7C3E6BF0-576E-4FDD-A74D-A8617F42F61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47" y="1110"/>
                <a:ext cx="212" cy="213"/>
              </a:xfrm>
              <a:custGeom>
                <a:avLst/>
                <a:gdLst>
                  <a:gd name="T0" fmla="*/ 160 w 320"/>
                  <a:gd name="T1" fmla="*/ 0 h 320"/>
                  <a:gd name="T2" fmla="*/ 0 w 320"/>
                  <a:gd name="T3" fmla="*/ 160 h 320"/>
                  <a:gd name="T4" fmla="*/ 160 w 320"/>
                  <a:gd name="T5" fmla="*/ 320 h 320"/>
                  <a:gd name="T6" fmla="*/ 320 w 320"/>
                  <a:gd name="T7" fmla="*/ 160 h 320"/>
                  <a:gd name="T8" fmla="*/ 160 w 320"/>
                  <a:gd name="T9" fmla="*/ 0 h 320"/>
                  <a:gd name="T10" fmla="*/ 283 w 320"/>
                  <a:gd name="T11" fmla="*/ 224 h 320"/>
                  <a:gd name="T12" fmla="*/ 218 w 320"/>
                  <a:gd name="T13" fmla="*/ 224 h 320"/>
                  <a:gd name="T14" fmla="*/ 223 w 320"/>
                  <a:gd name="T15" fmla="*/ 170 h 320"/>
                  <a:gd name="T16" fmla="*/ 298 w 320"/>
                  <a:gd name="T17" fmla="*/ 170 h 320"/>
                  <a:gd name="T18" fmla="*/ 283 w 320"/>
                  <a:gd name="T19" fmla="*/ 224 h 320"/>
                  <a:gd name="T20" fmla="*/ 160 w 320"/>
                  <a:gd name="T21" fmla="*/ 298 h 320"/>
                  <a:gd name="T22" fmla="*/ 127 w 320"/>
                  <a:gd name="T23" fmla="*/ 245 h 320"/>
                  <a:gd name="T24" fmla="*/ 192 w 320"/>
                  <a:gd name="T25" fmla="*/ 245 h 320"/>
                  <a:gd name="T26" fmla="*/ 160 w 320"/>
                  <a:gd name="T27" fmla="*/ 298 h 320"/>
                  <a:gd name="T28" fmla="*/ 122 w 320"/>
                  <a:gd name="T29" fmla="*/ 224 h 320"/>
                  <a:gd name="T30" fmla="*/ 117 w 320"/>
                  <a:gd name="T31" fmla="*/ 170 h 320"/>
                  <a:gd name="T32" fmla="*/ 202 w 320"/>
                  <a:gd name="T33" fmla="*/ 170 h 320"/>
                  <a:gd name="T34" fmla="*/ 197 w 320"/>
                  <a:gd name="T35" fmla="*/ 224 h 320"/>
                  <a:gd name="T36" fmla="*/ 122 w 320"/>
                  <a:gd name="T37" fmla="*/ 224 h 320"/>
                  <a:gd name="T38" fmla="*/ 22 w 320"/>
                  <a:gd name="T39" fmla="*/ 170 h 320"/>
                  <a:gd name="T40" fmla="*/ 96 w 320"/>
                  <a:gd name="T41" fmla="*/ 170 h 320"/>
                  <a:gd name="T42" fmla="*/ 101 w 320"/>
                  <a:gd name="T43" fmla="*/ 224 h 320"/>
                  <a:gd name="T44" fmla="*/ 37 w 320"/>
                  <a:gd name="T45" fmla="*/ 224 h 320"/>
                  <a:gd name="T46" fmla="*/ 22 w 320"/>
                  <a:gd name="T47" fmla="*/ 170 h 320"/>
                  <a:gd name="T48" fmla="*/ 37 w 320"/>
                  <a:gd name="T49" fmla="*/ 96 h 320"/>
                  <a:gd name="T50" fmla="*/ 101 w 320"/>
                  <a:gd name="T51" fmla="*/ 96 h 320"/>
                  <a:gd name="T52" fmla="*/ 96 w 320"/>
                  <a:gd name="T53" fmla="*/ 149 h 320"/>
                  <a:gd name="T54" fmla="*/ 22 w 320"/>
                  <a:gd name="T55" fmla="*/ 149 h 320"/>
                  <a:gd name="T56" fmla="*/ 37 w 320"/>
                  <a:gd name="T57" fmla="*/ 96 h 320"/>
                  <a:gd name="T58" fmla="*/ 160 w 320"/>
                  <a:gd name="T59" fmla="*/ 21 h 320"/>
                  <a:gd name="T60" fmla="*/ 192 w 320"/>
                  <a:gd name="T61" fmla="*/ 74 h 320"/>
                  <a:gd name="T62" fmla="*/ 127 w 320"/>
                  <a:gd name="T63" fmla="*/ 74 h 320"/>
                  <a:gd name="T64" fmla="*/ 160 w 320"/>
                  <a:gd name="T65" fmla="*/ 21 h 320"/>
                  <a:gd name="T66" fmla="*/ 197 w 320"/>
                  <a:gd name="T67" fmla="*/ 96 h 320"/>
                  <a:gd name="T68" fmla="*/ 202 w 320"/>
                  <a:gd name="T69" fmla="*/ 149 h 320"/>
                  <a:gd name="T70" fmla="*/ 117 w 320"/>
                  <a:gd name="T71" fmla="*/ 149 h 320"/>
                  <a:gd name="T72" fmla="*/ 122 w 320"/>
                  <a:gd name="T73" fmla="*/ 96 h 320"/>
                  <a:gd name="T74" fmla="*/ 197 w 320"/>
                  <a:gd name="T75" fmla="*/ 96 h 320"/>
                  <a:gd name="T76" fmla="*/ 223 w 320"/>
                  <a:gd name="T77" fmla="*/ 149 h 320"/>
                  <a:gd name="T78" fmla="*/ 218 w 320"/>
                  <a:gd name="T79" fmla="*/ 96 h 320"/>
                  <a:gd name="T80" fmla="*/ 283 w 320"/>
                  <a:gd name="T81" fmla="*/ 96 h 320"/>
                  <a:gd name="T82" fmla="*/ 298 w 320"/>
                  <a:gd name="T83" fmla="*/ 149 h 320"/>
                  <a:gd name="T84" fmla="*/ 223 w 320"/>
                  <a:gd name="T85" fmla="*/ 149 h 320"/>
                  <a:gd name="T86" fmla="*/ 269 w 320"/>
                  <a:gd name="T87" fmla="*/ 74 h 320"/>
                  <a:gd name="T88" fmla="*/ 214 w 320"/>
                  <a:gd name="T89" fmla="*/ 74 h 320"/>
                  <a:gd name="T90" fmla="*/ 196 w 320"/>
                  <a:gd name="T91" fmla="*/ 26 h 320"/>
                  <a:gd name="T92" fmla="*/ 269 w 320"/>
                  <a:gd name="T93" fmla="*/ 74 h 320"/>
                  <a:gd name="T94" fmla="*/ 124 w 320"/>
                  <a:gd name="T95" fmla="*/ 26 h 320"/>
                  <a:gd name="T96" fmla="*/ 105 w 320"/>
                  <a:gd name="T97" fmla="*/ 74 h 320"/>
                  <a:gd name="T98" fmla="*/ 51 w 320"/>
                  <a:gd name="T99" fmla="*/ 74 h 320"/>
                  <a:gd name="T100" fmla="*/ 124 w 320"/>
                  <a:gd name="T101" fmla="*/ 26 h 320"/>
                  <a:gd name="T102" fmla="*/ 51 w 320"/>
                  <a:gd name="T103" fmla="*/ 245 h 320"/>
                  <a:gd name="T104" fmla="*/ 105 w 320"/>
                  <a:gd name="T105" fmla="*/ 245 h 320"/>
                  <a:gd name="T106" fmla="*/ 124 w 320"/>
                  <a:gd name="T107" fmla="*/ 293 h 320"/>
                  <a:gd name="T108" fmla="*/ 51 w 320"/>
                  <a:gd name="T109" fmla="*/ 245 h 320"/>
                  <a:gd name="T110" fmla="*/ 196 w 320"/>
                  <a:gd name="T111" fmla="*/ 293 h 320"/>
                  <a:gd name="T112" fmla="*/ 214 w 320"/>
                  <a:gd name="T113" fmla="*/ 245 h 320"/>
                  <a:gd name="T114" fmla="*/ 269 w 320"/>
                  <a:gd name="T115" fmla="*/ 245 h 320"/>
                  <a:gd name="T116" fmla="*/ 196 w 320"/>
                  <a:gd name="T117" fmla="*/ 293 h 3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320" h="320">
                    <a:moveTo>
                      <a:pt x="160" y="0"/>
                    </a:moveTo>
                    <a:cubicBezTo>
                      <a:pt x="71" y="0"/>
                      <a:pt x="0" y="71"/>
                      <a:pt x="0" y="160"/>
                    </a:cubicBezTo>
                    <a:cubicBezTo>
                      <a:pt x="0" y="248"/>
                      <a:pt x="71" y="320"/>
                      <a:pt x="160" y="320"/>
                    </a:cubicBezTo>
                    <a:cubicBezTo>
                      <a:pt x="248" y="320"/>
                      <a:pt x="320" y="248"/>
                      <a:pt x="320" y="160"/>
                    </a:cubicBezTo>
                    <a:cubicBezTo>
                      <a:pt x="320" y="71"/>
                      <a:pt x="248" y="0"/>
                      <a:pt x="160" y="0"/>
                    </a:cubicBezTo>
                    <a:close/>
                    <a:moveTo>
                      <a:pt x="283" y="224"/>
                    </a:moveTo>
                    <a:cubicBezTo>
                      <a:pt x="218" y="224"/>
                      <a:pt x="218" y="224"/>
                      <a:pt x="218" y="224"/>
                    </a:cubicBezTo>
                    <a:cubicBezTo>
                      <a:pt x="221" y="207"/>
                      <a:pt x="223" y="188"/>
                      <a:pt x="223" y="170"/>
                    </a:cubicBezTo>
                    <a:cubicBezTo>
                      <a:pt x="298" y="170"/>
                      <a:pt x="298" y="170"/>
                      <a:pt x="298" y="170"/>
                    </a:cubicBezTo>
                    <a:cubicBezTo>
                      <a:pt x="296" y="189"/>
                      <a:pt x="291" y="207"/>
                      <a:pt x="283" y="224"/>
                    </a:cubicBezTo>
                    <a:close/>
                    <a:moveTo>
                      <a:pt x="160" y="298"/>
                    </a:moveTo>
                    <a:cubicBezTo>
                      <a:pt x="149" y="298"/>
                      <a:pt x="136" y="279"/>
                      <a:pt x="127" y="245"/>
                    </a:cubicBezTo>
                    <a:cubicBezTo>
                      <a:pt x="192" y="245"/>
                      <a:pt x="192" y="245"/>
                      <a:pt x="192" y="245"/>
                    </a:cubicBezTo>
                    <a:cubicBezTo>
                      <a:pt x="183" y="279"/>
                      <a:pt x="170" y="298"/>
                      <a:pt x="160" y="298"/>
                    </a:cubicBezTo>
                    <a:close/>
                    <a:moveTo>
                      <a:pt x="122" y="224"/>
                    </a:moveTo>
                    <a:cubicBezTo>
                      <a:pt x="120" y="208"/>
                      <a:pt x="118" y="190"/>
                      <a:pt x="117" y="170"/>
                    </a:cubicBezTo>
                    <a:cubicBezTo>
                      <a:pt x="202" y="170"/>
                      <a:pt x="202" y="170"/>
                      <a:pt x="202" y="170"/>
                    </a:cubicBezTo>
                    <a:cubicBezTo>
                      <a:pt x="202" y="190"/>
                      <a:pt x="200" y="208"/>
                      <a:pt x="197" y="224"/>
                    </a:cubicBezTo>
                    <a:lnTo>
                      <a:pt x="122" y="224"/>
                    </a:lnTo>
                    <a:close/>
                    <a:moveTo>
                      <a:pt x="22" y="170"/>
                    </a:moveTo>
                    <a:cubicBezTo>
                      <a:pt x="96" y="170"/>
                      <a:pt x="96" y="170"/>
                      <a:pt x="96" y="170"/>
                    </a:cubicBezTo>
                    <a:cubicBezTo>
                      <a:pt x="96" y="188"/>
                      <a:pt x="98" y="207"/>
                      <a:pt x="101" y="224"/>
                    </a:cubicBezTo>
                    <a:cubicBezTo>
                      <a:pt x="37" y="224"/>
                      <a:pt x="37" y="224"/>
                      <a:pt x="37" y="224"/>
                    </a:cubicBezTo>
                    <a:cubicBezTo>
                      <a:pt x="28" y="207"/>
                      <a:pt x="23" y="189"/>
                      <a:pt x="22" y="170"/>
                    </a:cubicBezTo>
                    <a:close/>
                    <a:moveTo>
                      <a:pt x="37" y="96"/>
                    </a:moveTo>
                    <a:cubicBezTo>
                      <a:pt x="101" y="96"/>
                      <a:pt x="101" y="96"/>
                      <a:pt x="101" y="96"/>
                    </a:cubicBezTo>
                    <a:cubicBezTo>
                      <a:pt x="98" y="113"/>
                      <a:pt x="96" y="131"/>
                      <a:pt x="96" y="149"/>
                    </a:cubicBezTo>
                    <a:cubicBezTo>
                      <a:pt x="22" y="149"/>
                      <a:pt x="22" y="149"/>
                      <a:pt x="22" y="149"/>
                    </a:cubicBezTo>
                    <a:cubicBezTo>
                      <a:pt x="23" y="130"/>
                      <a:pt x="28" y="112"/>
                      <a:pt x="37" y="96"/>
                    </a:cubicBezTo>
                    <a:close/>
                    <a:moveTo>
                      <a:pt x="160" y="21"/>
                    </a:moveTo>
                    <a:cubicBezTo>
                      <a:pt x="170" y="21"/>
                      <a:pt x="183" y="41"/>
                      <a:pt x="192" y="74"/>
                    </a:cubicBezTo>
                    <a:cubicBezTo>
                      <a:pt x="127" y="74"/>
                      <a:pt x="127" y="74"/>
                      <a:pt x="127" y="74"/>
                    </a:cubicBezTo>
                    <a:cubicBezTo>
                      <a:pt x="136" y="41"/>
                      <a:pt x="149" y="21"/>
                      <a:pt x="160" y="21"/>
                    </a:cubicBezTo>
                    <a:close/>
                    <a:moveTo>
                      <a:pt x="197" y="96"/>
                    </a:moveTo>
                    <a:cubicBezTo>
                      <a:pt x="200" y="111"/>
                      <a:pt x="202" y="129"/>
                      <a:pt x="202" y="149"/>
                    </a:cubicBezTo>
                    <a:cubicBezTo>
                      <a:pt x="117" y="149"/>
                      <a:pt x="117" y="149"/>
                      <a:pt x="117" y="149"/>
                    </a:cubicBezTo>
                    <a:cubicBezTo>
                      <a:pt x="118" y="129"/>
                      <a:pt x="120" y="111"/>
                      <a:pt x="122" y="96"/>
                    </a:cubicBezTo>
                    <a:lnTo>
                      <a:pt x="197" y="96"/>
                    </a:lnTo>
                    <a:close/>
                    <a:moveTo>
                      <a:pt x="223" y="149"/>
                    </a:moveTo>
                    <a:cubicBezTo>
                      <a:pt x="223" y="131"/>
                      <a:pt x="221" y="113"/>
                      <a:pt x="218" y="96"/>
                    </a:cubicBezTo>
                    <a:cubicBezTo>
                      <a:pt x="283" y="96"/>
                      <a:pt x="283" y="96"/>
                      <a:pt x="283" y="96"/>
                    </a:cubicBezTo>
                    <a:cubicBezTo>
                      <a:pt x="291" y="112"/>
                      <a:pt x="296" y="130"/>
                      <a:pt x="298" y="149"/>
                    </a:cubicBezTo>
                    <a:lnTo>
                      <a:pt x="223" y="149"/>
                    </a:lnTo>
                    <a:close/>
                    <a:moveTo>
                      <a:pt x="269" y="74"/>
                    </a:moveTo>
                    <a:cubicBezTo>
                      <a:pt x="214" y="74"/>
                      <a:pt x="214" y="74"/>
                      <a:pt x="214" y="74"/>
                    </a:cubicBezTo>
                    <a:cubicBezTo>
                      <a:pt x="210" y="55"/>
                      <a:pt x="203" y="39"/>
                      <a:pt x="196" y="26"/>
                    </a:cubicBezTo>
                    <a:cubicBezTo>
                      <a:pt x="225" y="34"/>
                      <a:pt x="251" y="51"/>
                      <a:pt x="269" y="74"/>
                    </a:cubicBezTo>
                    <a:close/>
                    <a:moveTo>
                      <a:pt x="124" y="26"/>
                    </a:moveTo>
                    <a:cubicBezTo>
                      <a:pt x="116" y="39"/>
                      <a:pt x="110" y="55"/>
                      <a:pt x="105" y="74"/>
                    </a:cubicBezTo>
                    <a:cubicBezTo>
                      <a:pt x="51" y="74"/>
                      <a:pt x="51" y="74"/>
                      <a:pt x="51" y="74"/>
                    </a:cubicBezTo>
                    <a:cubicBezTo>
                      <a:pt x="69" y="51"/>
                      <a:pt x="94" y="34"/>
                      <a:pt x="124" y="26"/>
                    </a:cubicBezTo>
                    <a:close/>
                    <a:moveTo>
                      <a:pt x="51" y="245"/>
                    </a:moveTo>
                    <a:cubicBezTo>
                      <a:pt x="105" y="245"/>
                      <a:pt x="105" y="245"/>
                      <a:pt x="105" y="245"/>
                    </a:cubicBezTo>
                    <a:cubicBezTo>
                      <a:pt x="110" y="264"/>
                      <a:pt x="116" y="281"/>
                      <a:pt x="124" y="293"/>
                    </a:cubicBezTo>
                    <a:cubicBezTo>
                      <a:pt x="94" y="285"/>
                      <a:pt x="69" y="268"/>
                      <a:pt x="51" y="245"/>
                    </a:cubicBezTo>
                    <a:close/>
                    <a:moveTo>
                      <a:pt x="196" y="293"/>
                    </a:moveTo>
                    <a:cubicBezTo>
                      <a:pt x="203" y="281"/>
                      <a:pt x="210" y="264"/>
                      <a:pt x="214" y="245"/>
                    </a:cubicBezTo>
                    <a:cubicBezTo>
                      <a:pt x="269" y="245"/>
                      <a:pt x="269" y="245"/>
                      <a:pt x="269" y="245"/>
                    </a:cubicBezTo>
                    <a:cubicBezTo>
                      <a:pt x="251" y="268"/>
                      <a:pt x="225" y="285"/>
                      <a:pt x="196" y="29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68" name="Freeform 55">
                <a:extLst>
                  <a:ext uri="{FF2B5EF4-FFF2-40B4-BE49-F238E27FC236}">
                    <a16:creationId xmlns:a16="http://schemas.microsoft.com/office/drawing/2014/main" id="{CC7F3200-730C-4CB0-A28D-D37DB620106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83" y="1046"/>
                <a:ext cx="340" cy="341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28B68582-AB76-43C5-AE8C-0F0B00D6E36D}"/>
                </a:ext>
              </a:extLst>
            </p:cNvPr>
            <p:cNvGrpSpPr/>
            <p:nvPr/>
          </p:nvGrpSpPr>
          <p:grpSpPr>
            <a:xfrm>
              <a:off x="-472375" y="2120265"/>
              <a:ext cx="365760" cy="365760"/>
              <a:chOff x="6806797" y="2076826"/>
              <a:chExt cx="685804" cy="685804"/>
            </a:xfrm>
          </p:grpSpPr>
          <p:sp>
            <p:nvSpPr>
              <p:cNvPr id="70" name="Freeform 623">
                <a:extLst>
                  <a:ext uri="{FF2B5EF4-FFF2-40B4-BE49-F238E27FC236}">
                    <a16:creationId xmlns:a16="http://schemas.microsoft.com/office/drawing/2014/main" id="{E55E750E-B6FB-4BBF-AC9A-A29B7F58374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06797" y="2076826"/>
                <a:ext cx="685804" cy="685804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solidFill>
                <a:srgbClr val="13A2DE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pic>
            <p:nvPicPr>
              <p:cNvPr id="71" name="Graphic 70" descr="Target">
                <a:extLst>
                  <a:ext uri="{FF2B5EF4-FFF2-40B4-BE49-F238E27FC236}">
                    <a16:creationId xmlns:a16="http://schemas.microsoft.com/office/drawing/2014/main" id="{B1968933-A9E1-43AE-9277-1FC5AC80749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6852519" y="2122548"/>
                <a:ext cx="594360" cy="594360"/>
              </a:xfrm>
              <a:prstGeom prst="rect">
                <a:avLst/>
              </a:prstGeom>
            </p:spPr>
          </p:pic>
        </p:grpSp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C774E2D0-9DA0-4473-B88E-3A632683567F}"/>
                </a:ext>
              </a:extLst>
            </p:cNvPr>
            <p:cNvGrpSpPr/>
            <p:nvPr/>
          </p:nvGrpSpPr>
          <p:grpSpPr>
            <a:xfrm>
              <a:off x="-50081" y="2120265"/>
              <a:ext cx="365760" cy="365760"/>
              <a:chOff x="6806753" y="3091011"/>
              <a:chExt cx="685800" cy="685800"/>
            </a:xfrm>
          </p:grpSpPr>
          <p:sp>
            <p:nvSpPr>
              <p:cNvPr id="73" name="Freeform 727">
                <a:extLst>
                  <a:ext uri="{FF2B5EF4-FFF2-40B4-BE49-F238E27FC236}">
                    <a16:creationId xmlns:a16="http://schemas.microsoft.com/office/drawing/2014/main" id="{A94C193C-29BD-4CD2-9003-C0057407754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06753" y="3091011"/>
                <a:ext cx="685800" cy="685800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solidFill>
                <a:srgbClr val="0878AA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pic>
            <p:nvPicPr>
              <p:cNvPr id="74" name="Graphic 73" descr="Head with gears">
                <a:extLst>
                  <a:ext uri="{FF2B5EF4-FFF2-40B4-BE49-F238E27FC236}">
                    <a16:creationId xmlns:a16="http://schemas.microsoft.com/office/drawing/2014/main" id="{18501080-E491-4230-A4AA-EBF90E42F9A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6932592" y="3216850"/>
                <a:ext cx="434123" cy="434123"/>
              </a:xfrm>
              <a:prstGeom prst="rect">
                <a:avLst/>
              </a:prstGeom>
            </p:spPr>
          </p:pic>
        </p:grpSp>
        <p:grpSp>
          <p:nvGrpSpPr>
            <p:cNvPr id="75" name="Group 74">
              <a:extLst>
                <a:ext uri="{FF2B5EF4-FFF2-40B4-BE49-F238E27FC236}">
                  <a16:creationId xmlns:a16="http://schemas.microsoft.com/office/drawing/2014/main" id="{98FDC0AB-7698-4AB5-AADE-6853958CD5EC}"/>
                </a:ext>
              </a:extLst>
            </p:cNvPr>
            <p:cNvGrpSpPr/>
            <p:nvPr/>
          </p:nvGrpSpPr>
          <p:grpSpPr>
            <a:xfrm>
              <a:off x="-894668" y="2120265"/>
              <a:ext cx="365760" cy="365760"/>
              <a:chOff x="6806753" y="2142199"/>
              <a:chExt cx="685804" cy="685804"/>
            </a:xfrm>
          </p:grpSpPr>
          <p:sp>
            <p:nvSpPr>
              <p:cNvPr id="76" name="Freeform 623">
                <a:extLst>
                  <a:ext uri="{FF2B5EF4-FFF2-40B4-BE49-F238E27FC236}">
                    <a16:creationId xmlns:a16="http://schemas.microsoft.com/office/drawing/2014/main" id="{AFC1EBC1-9289-475D-B1BF-7B08782248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06753" y="2142199"/>
                <a:ext cx="685804" cy="685804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solidFill>
                <a:srgbClr val="36B9EE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pic>
            <p:nvPicPr>
              <p:cNvPr id="77" name="Graphic 76" descr="Badge Tick outline">
                <a:extLst>
                  <a:ext uri="{FF2B5EF4-FFF2-40B4-BE49-F238E27FC236}">
                    <a16:creationId xmlns:a16="http://schemas.microsoft.com/office/drawing/2014/main" id="{6D0AB6B2-9326-4886-A7BD-140B47D111F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6834429" y="2170883"/>
                <a:ext cx="628436" cy="628436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34265322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5DAED6B1-6292-6247-980F-02C1909970F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9900" y="736689"/>
            <a:ext cx="11252200" cy="283090"/>
          </a:xfrm>
        </p:spPr>
        <p:txBody>
          <a:bodyPr/>
          <a:lstStyle/>
          <a:p>
            <a:r>
              <a:rPr lang="en-US" sz="1200" dirty="0"/>
              <a:t>This chart is set up differently than the typical slider chart in this workbook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3EC109-DCC4-D84A-96DD-9E1DD06C1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3563"/>
          </a:xfrm>
        </p:spPr>
        <p:txBody>
          <a:bodyPr/>
          <a:lstStyle/>
          <a:p>
            <a:r>
              <a:rPr lang="en-US" b="1" spc="0" dirty="0"/>
              <a:t>Charts | </a:t>
            </a:r>
            <a:r>
              <a:rPr lang="en-US" dirty="0"/>
              <a:t>Slider Charts (1 of 3)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E6DFAAE-C9C6-9D46-B795-9BC79C578A16}"/>
              </a:ext>
            </a:extLst>
          </p:cNvPr>
          <p:cNvGrpSpPr/>
          <p:nvPr/>
        </p:nvGrpSpPr>
        <p:grpSpPr>
          <a:xfrm>
            <a:off x="10272038" y="173150"/>
            <a:ext cx="1632640" cy="366837"/>
            <a:chOff x="10272038" y="173150"/>
            <a:chExt cx="1632640" cy="366837"/>
          </a:xfrm>
        </p:grpSpPr>
        <p:grpSp>
          <p:nvGrpSpPr>
            <p:cNvPr id="7" name="Group 53">
              <a:extLst>
                <a:ext uri="{FF2B5EF4-FFF2-40B4-BE49-F238E27FC236}">
                  <a16:creationId xmlns:a16="http://schemas.microsoft.com/office/drawing/2014/main" id="{6C2C28C1-636A-1340-B840-A66A9F1DF6AB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0272038" y="173150"/>
              <a:ext cx="365760" cy="366837"/>
              <a:chOff x="5183" y="1046"/>
              <a:chExt cx="340" cy="341"/>
            </a:xfrm>
            <a:solidFill>
              <a:schemeClr val="bg1">
                <a:lumMod val="75000"/>
              </a:schemeClr>
            </a:solidFill>
          </p:grpSpPr>
          <p:sp>
            <p:nvSpPr>
              <p:cNvPr id="17" name="Freeform 54">
                <a:extLst>
                  <a:ext uri="{FF2B5EF4-FFF2-40B4-BE49-F238E27FC236}">
                    <a16:creationId xmlns:a16="http://schemas.microsoft.com/office/drawing/2014/main" id="{B3E3306A-20E7-4246-B14C-099787069D1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47" y="1110"/>
                <a:ext cx="212" cy="213"/>
              </a:xfrm>
              <a:custGeom>
                <a:avLst/>
                <a:gdLst>
                  <a:gd name="T0" fmla="*/ 160 w 320"/>
                  <a:gd name="T1" fmla="*/ 0 h 320"/>
                  <a:gd name="T2" fmla="*/ 0 w 320"/>
                  <a:gd name="T3" fmla="*/ 160 h 320"/>
                  <a:gd name="T4" fmla="*/ 160 w 320"/>
                  <a:gd name="T5" fmla="*/ 320 h 320"/>
                  <a:gd name="T6" fmla="*/ 320 w 320"/>
                  <a:gd name="T7" fmla="*/ 160 h 320"/>
                  <a:gd name="T8" fmla="*/ 160 w 320"/>
                  <a:gd name="T9" fmla="*/ 0 h 320"/>
                  <a:gd name="T10" fmla="*/ 283 w 320"/>
                  <a:gd name="T11" fmla="*/ 224 h 320"/>
                  <a:gd name="T12" fmla="*/ 218 w 320"/>
                  <a:gd name="T13" fmla="*/ 224 h 320"/>
                  <a:gd name="T14" fmla="*/ 223 w 320"/>
                  <a:gd name="T15" fmla="*/ 170 h 320"/>
                  <a:gd name="T16" fmla="*/ 298 w 320"/>
                  <a:gd name="T17" fmla="*/ 170 h 320"/>
                  <a:gd name="T18" fmla="*/ 283 w 320"/>
                  <a:gd name="T19" fmla="*/ 224 h 320"/>
                  <a:gd name="T20" fmla="*/ 160 w 320"/>
                  <a:gd name="T21" fmla="*/ 298 h 320"/>
                  <a:gd name="T22" fmla="*/ 127 w 320"/>
                  <a:gd name="T23" fmla="*/ 245 h 320"/>
                  <a:gd name="T24" fmla="*/ 192 w 320"/>
                  <a:gd name="T25" fmla="*/ 245 h 320"/>
                  <a:gd name="T26" fmla="*/ 160 w 320"/>
                  <a:gd name="T27" fmla="*/ 298 h 320"/>
                  <a:gd name="T28" fmla="*/ 122 w 320"/>
                  <a:gd name="T29" fmla="*/ 224 h 320"/>
                  <a:gd name="T30" fmla="*/ 117 w 320"/>
                  <a:gd name="T31" fmla="*/ 170 h 320"/>
                  <a:gd name="T32" fmla="*/ 202 w 320"/>
                  <a:gd name="T33" fmla="*/ 170 h 320"/>
                  <a:gd name="T34" fmla="*/ 197 w 320"/>
                  <a:gd name="T35" fmla="*/ 224 h 320"/>
                  <a:gd name="T36" fmla="*/ 122 w 320"/>
                  <a:gd name="T37" fmla="*/ 224 h 320"/>
                  <a:gd name="T38" fmla="*/ 22 w 320"/>
                  <a:gd name="T39" fmla="*/ 170 h 320"/>
                  <a:gd name="T40" fmla="*/ 96 w 320"/>
                  <a:gd name="T41" fmla="*/ 170 h 320"/>
                  <a:gd name="T42" fmla="*/ 101 w 320"/>
                  <a:gd name="T43" fmla="*/ 224 h 320"/>
                  <a:gd name="T44" fmla="*/ 37 w 320"/>
                  <a:gd name="T45" fmla="*/ 224 h 320"/>
                  <a:gd name="T46" fmla="*/ 22 w 320"/>
                  <a:gd name="T47" fmla="*/ 170 h 320"/>
                  <a:gd name="T48" fmla="*/ 37 w 320"/>
                  <a:gd name="T49" fmla="*/ 96 h 320"/>
                  <a:gd name="T50" fmla="*/ 101 w 320"/>
                  <a:gd name="T51" fmla="*/ 96 h 320"/>
                  <a:gd name="T52" fmla="*/ 96 w 320"/>
                  <a:gd name="T53" fmla="*/ 149 h 320"/>
                  <a:gd name="T54" fmla="*/ 22 w 320"/>
                  <a:gd name="T55" fmla="*/ 149 h 320"/>
                  <a:gd name="T56" fmla="*/ 37 w 320"/>
                  <a:gd name="T57" fmla="*/ 96 h 320"/>
                  <a:gd name="T58" fmla="*/ 160 w 320"/>
                  <a:gd name="T59" fmla="*/ 21 h 320"/>
                  <a:gd name="T60" fmla="*/ 192 w 320"/>
                  <a:gd name="T61" fmla="*/ 74 h 320"/>
                  <a:gd name="T62" fmla="*/ 127 w 320"/>
                  <a:gd name="T63" fmla="*/ 74 h 320"/>
                  <a:gd name="T64" fmla="*/ 160 w 320"/>
                  <a:gd name="T65" fmla="*/ 21 h 320"/>
                  <a:gd name="T66" fmla="*/ 197 w 320"/>
                  <a:gd name="T67" fmla="*/ 96 h 320"/>
                  <a:gd name="T68" fmla="*/ 202 w 320"/>
                  <a:gd name="T69" fmla="*/ 149 h 320"/>
                  <a:gd name="T70" fmla="*/ 117 w 320"/>
                  <a:gd name="T71" fmla="*/ 149 h 320"/>
                  <a:gd name="T72" fmla="*/ 122 w 320"/>
                  <a:gd name="T73" fmla="*/ 96 h 320"/>
                  <a:gd name="T74" fmla="*/ 197 w 320"/>
                  <a:gd name="T75" fmla="*/ 96 h 320"/>
                  <a:gd name="T76" fmla="*/ 223 w 320"/>
                  <a:gd name="T77" fmla="*/ 149 h 320"/>
                  <a:gd name="T78" fmla="*/ 218 w 320"/>
                  <a:gd name="T79" fmla="*/ 96 h 320"/>
                  <a:gd name="T80" fmla="*/ 283 w 320"/>
                  <a:gd name="T81" fmla="*/ 96 h 320"/>
                  <a:gd name="T82" fmla="*/ 298 w 320"/>
                  <a:gd name="T83" fmla="*/ 149 h 320"/>
                  <a:gd name="T84" fmla="*/ 223 w 320"/>
                  <a:gd name="T85" fmla="*/ 149 h 320"/>
                  <a:gd name="T86" fmla="*/ 269 w 320"/>
                  <a:gd name="T87" fmla="*/ 74 h 320"/>
                  <a:gd name="T88" fmla="*/ 214 w 320"/>
                  <a:gd name="T89" fmla="*/ 74 h 320"/>
                  <a:gd name="T90" fmla="*/ 196 w 320"/>
                  <a:gd name="T91" fmla="*/ 26 h 320"/>
                  <a:gd name="T92" fmla="*/ 269 w 320"/>
                  <a:gd name="T93" fmla="*/ 74 h 320"/>
                  <a:gd name="T94" fmla="*/ 124 w 320"/>
                  <a:gd name="T95" fmla="*/ 26 h 320"/>
                  <a:gd name="T96" fmla="*/ 105 w 320"/>
                  <a:gd name="T97" fmla="*/ 74 h 320"/>
                  <a:gd name="T98" fmla="*/ 51 w 320"/>
                  <a:gd name="T99" fmla="*/ 74 h 320"/>
                  <a:gd name="T100" fmla="*/ 124 w 320"/>
                  <a:gd name="T101" fmla="*/ 26 h 320"/>
                  <a:gd name="T102" fmla="*/ 51 w 320"/>
                  <a:gd name="T103" fmla="*/ 245 h 320"/>
                  <a:gd name="T104" fmla="*/ 105 w 320"/>
                  <a:gd name="T105" fmla="*/ 245 h 320"/>
                  <a:gd name="T106" fmla="*/ 124 w 320"/>
                  <a:gd name="T107" fmla="*/ 293 h 320"/>
                  <a:gd name="T108" fmla="*/ 51 w 320"/>
                  <a:gd name="T109" fmla="*/ 245 h 320"/>
                  <a:gd name="T110" fmla="*/ 196 w 320"/>
                  <a:gd name="T111" fmla="*/ 293 h 320"/>
                  <a:gd name="T112" fmla="*/ 214 w 320"/>
                  <a:gd name="T113" fmla="*/ 245 h 320"/>
                  <a:gd name="T114" fmla="*/ 269 w 320"/>
                  <a:gd name="T115" fmla="*/ 245 h 320"/>
                  <a:gd name="T116" fmla="*/ 196 w 320"/>
                  <a:gd name="T117" fmla="*/ 293 h 3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320" h="320">
                    <a:moveTo>
                      <a:pt x="160" y="0"/>
                    </a:moveTo>
                    <a:cubicBezTo>
                      <a:pt x="71" y="0"/>
                      <a:pt x="0" y="71"/>
                      <a:pt x="0" y="160"/>
                    </a:cubicBezTo>
                    <a:cubicBezTo>
                      <a:pt x="0" y="248"/>
                      <a:pt x="71" y="320"/>
                      <a:pt x="160" y="320"/>
                    </a:cubicBezTo>
                    <a:cubicBezTo>
                      <a:pt x="248" y="320"/>
                      <a:pt x="320" y="248"/>
                      <a:pt x="320" y="160"/>
                    </a:cubicBezTo>
                    <a:cubicBezTo>
                      <a:pt x="320" y="71"/>
                      <a:pt x="248" y="0"/>
                      <a:pt x="160" y="0"/>
                    </a:cubicBezTo>
                    <a:close/>
                    <a:moveTo>
                      <a:pt x="283" y="224"/>
                    </a:moveTo>
                    <a:cubicBezTo>
                      <a:pt x="218" y="224"/>
                      <a:pt x="218" y="224"/>
                      <a:pt x="218" y="224"/>
                    </a:cubicBezTo>
                    <a:cubicBezTo>
                      <a:pt x="221" y="207"/>
                      <a:pt x="223" y="188"/>
                      <a:pt x="223" y="170"/>
                    </a:cubicBezTo>
                    <a:cubicBezTo>
                      <a:pt x="298" y="170"/>
                      <a:pt x="298" y="170"/>
                      <a:pt x="298" y="170"/>
                    </a:cubicBezTo>
                    <a:cubicBezTo>
                      <a:pt x="296" y="189"/>
                      <a:pt x="291" y="207"/>
                      <a:pt x="283" y="224"/>
                    </a:cubicBezTo>
                    <a:close/>
                    <a:moveTo>
                      <a:pt x="160" y="298"/>
                    </a:moveTo>
                    <a:cubicBezTo>
                      <a:pt x="149" y="298"/>
                      <a:pt x="136" y="279"/>
                      <a:pt x="127" y="245"/>
                    </a:cubicBezTo>
                    <a:cubicBezTo>
                      <a:pt x="192" y="245"/>
                      <a:pt x="192" y="245"/>
                      <a:pt x="192" y="245"/>
                    </a:cubicBezTo>
                    <a:cubicBezTo>
                      <a:pt x="183" y="279"/>
                      <a:pt x="170" y="298"/>
                      <a:pt x="160" y="298"/>
                    </a:cubicBezTo>
                    <a:close/>
                    <a:moveTo>
                      <a:pt x="122" y="224"/>
                    </a:moveTo>
                    <a:cubicBezTo>
                      <a:pt x="120" y="208"/>
                      <a:pt x="118" y="190"/>
                      <a:pt x="117" y="170"/>
                    </a:cubicBezTo>
                    <a:cubicBezTo>
                      <a:pt x="202" y="170"/>
                      <a:pt x="202" y="170"/>
                      <a:pt x="202" y="170"/>
                    </a:cubicBezTo>
                    <a:cubicBezTo>
                      <a:pt x="202" y="190"/>
                      <a:pt x="200" y="208"/>
                      <a:pt x="197" y="224"/>
                    </a:cubicBezTo>
                    <a:lnTo>
                      <a:pt x="122" y="224"/>
                    </a:lnTo>
                    <a:close/>
                    <a:moveTo>
                      <a:pt x="22" y="170"/>
                    </a:moveTo>
                    <a:cubicBezTo>
                      <a:pt x="96" y="170"/>
                      <a:pt x="96" y="170"/>
                      <a:pt x="96" y="170"/>
                    </a:cubicBezTo>
                    <a:cubicBezTo>
                      <a:pt x="96" y="188"/>
                      <a:pt x="98" y="207"/>
                      <a:pt x="101" y="224"/>
                    </a:cubicBezTo>
                    <a:cubicBezTo>
                      <a:pt x="37" y="224"/>
                      <a:pt x="37" y="224"/>
                      <a:pt x="37" y="224"/>
                    </a:cubicBezTo>
                    <a:cubicBezTo>
                      <a:pt x="28" y="207"/>
                      <a:pt x="23" y="189"/>
                      <a:pt x="22" y="170"/>
                    </a:cubicBezTo>
                    <a:close/>
                    <a:moveTo>
                      <a:pt x="37" y="96"/>
                    </a:moveTo>
                    <a:cubicBezTo>
                      <a:pt x="101" y="96"/>
                      <a:pt x="101" y="96"/>
                      <a:pt x="101" y="96"/>
                    </a:cubicBezTo>
                    <a:cubicBezTo>
                      <a:pt x="98" y="113"/>
                      <a:pt x="96" y="131"/>
                      <a:pt x="96" y="149"/>
                    </a:cubicBezTo>
                    <a:cubicBezTo>
                      <a:pt x="22" y="149"/>
                      <a:pt x="22" y="149"/>
                      <a:pt x="22" y="149"/>
                    </a:cubicBezTo>
                    <a:cubicBezTo>
                      <a:pt x="23" y="130"/>
                      <a:pt x="28" y="112"/>
                      <a:pt x="37" y="96"/>
                    </a:cubicBezTo>
                    <a:close/>
                    <a:moveTo>
                      <a:pt x="160" y="21"/>
                    </a:moveTo>
                    <a:cubicBezTo>
                      <a:pt x="170" y="21"/>
                      <a:pt x="183" y="41"/>
                      <a:pt x="192" y="74"/>
                    </a:cubicBezTo>
                    <a:cubicBezTo>
                      <a:pt x="127" y="74"/>
                      <a:pt x="127" y="74"/>
                      <a:pt x="127" y="74"/>
                    </a:cubicBezTo>
                    <a:cubicBezTo>
                      <a:pt x="136" y="41"/>
                      <a:pt x="149" y="21"/>
                      <a:pt x="160" y="21"/>
                    </a:cubicBezTo>
                    <a:close/>
                    <a:moveTo>
                      <a:pt x="197" y="96"/>
                    </a:moveTo>
                    <a:cubicBezTo>
                      <a:pt x="200" y="111"/>
                      <a:pt x="202" y="129"/>
                      <a:pt x="202" y="149"/>
                    </a:cubicBezTo>
                    <a:cubicBezTo>
                      <a:pt x="117" y="149"/>
                      <a:pt x="117" y="149"/>
                      <a:pt x="117" y="149"/>
                    </a:cubicBezTo>
                    <a:cubicBezTo>
                      <a:pt x="118" y="129"/>
                      <a:pt x="120" y="111"/>
                      <a:pt x="122" y="96"/>
                    </a:cubicBezTo>
                    <a:lnTo>
                      <a:pt x="197" y="96"/>
                    </a:lnTo>
                    <a:close/>
                    <a:moveTo>
                      <a:pt x="223" y="149"/>
                    </a:moveTo>
                    <a:cubicBezTo>
                      <a:pt x="223" y="131"/>
                      <a:pt x="221" y="113"/>
                      <a:pt x="218" y="96"/>
                    </a:cubicBezTo>
                    <a:cubicBezTo>
                      <a:pt x="283" y="96"/>
                      <a:pt x="283" y="96"/>
                      <a:pt x="283" y="96"/>
                    </a:cubicBezTo>
                    <a:cubicBezTo>
                      <a:pt x="291" y="112"/>
                      <a:pt x="296" y="130"/>
                      <a:pt x="298" y="149"/>
                    </a:cubicBezTo>
                    <a:lnTo>
                      <a:pt x="223" y="149"/>
                    </a:lnTo>
                    <a:close/>
                    <a:moveTo>
                      <a:pt x="269" y="74"/>
                    </a:moveTo>
                    <a:cubicBezTo>
                      <a:pt x="214" y="74"/>
                      <a:pt x="214" y="74"/>
                      <a:pt x="214" y="74"/>
                    </a:cubicBezTo>
                    <a:cubicBezTo>
                      <a:pt x="210" y="55"/>
                      <a:pt x="203" y="39"/>
                      <a:pt x="196" y="26"/>
                    </a:cubicBezTo>
                    <a:cubicBezTo>
                      <a:pt x="225" y="34"/>
                      <a:pt x="251" y="51"/>
                      <a:pt x="269" y="74"/>
                    </a:cubicBezTo>
                    <a:close/>
                    <a:moveTo>
                      <a:pt x="124" y="26"/>
                    </a:moveTo>
                    <a:cubicBezTo>
                      <a:pt x="116" y="39"/>
                      <a:pt x="110" y="55"/>
                      <a:pt x="105" y="74"/>
                    </a:cubicBezTo>
                    <a:cubicBezTo>
                      <a:pt x="51" y="74"/>
                      <a:pt x="51" y="74"/>
                      <a:pt x="51" y="74"/>
                    </a:cubicBezTo>
                    <a:cubicBezTo>
                      <a:pt x="69" y="51"/>
                      <a:pt x="94" y="34"/>
                      <a:pt x="124" y="26"/>
                    </a:cubicBezTo>
                    <a:close/>
                    <a:moveTo>
                      <a:pt x="51" y="245"/>
                    </a:moveTo>
                    <a:cubicBezTo>
                      <a:pt x="105" y="245"/>
                      <a:pt x="105" y="245"/>
                      <a:pt x="105" y="245"/>
                    </a:cubicBezTo>
                    <a:cubicBezTo>
                      <a:pt x="110" y="264"/>
                      <a:pt x="116" y="281"/>
                      <a:pt x="124" y="293"/>
                    </a:cubicBezTo>
                    <a:cubicBezTo>
                      <a:pt x="94" y="285"/>
                      <a:pt x="69" y="268"/>
                      <a:pt x="51" y="245"/>
                    </a:cubicBezTo>
                    <a:close/>
                    <a:moveTo>
                      <a:pt x="196" y="293"/>
                    </a:moveTo>
                    <a:cubicBezTo>
                      <a:pt x="203" y="281"/>
                      <a:pt x="210" y="264"/>
                      <a:pt x="214" y="245"/>
                    </a:cubicBezTo>
                    <a:cubicBezTo>
                      <a:pt x="269" y="245"/>
                      <a:pt x="269" y="245"/>
                      <a:pt x="269" y="245"/>
                    </a:cubicBezTo>
                    <a:cubicBezTo>
                      <a:pt x="251" y="268"/>
                      <a:pt x="225" y="285"/>
                      <a:pt x="196" y="29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" name="Freeform 55">
                <a:extLst>
                  <a:ext uri="{FF2B5EF4-FFF2-40B4-BE49-F238E27FC236}">
                    <a16:creationId xmlns:a16="http://schemas.microsoft.com/office/drawing/2014/main" id="{C6023F7A-281F-C844-BA27-C60AACC50B4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83" y="1046"/>
                <a:ext cx="340" cy="341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A6030B49-ABBA-714D-8A34-EC40E7E014FC}"/>
                </a:ext>
              </a:extLst>
            </p:cNvPr>
            <p:cNvGrpSpPr/>
            <p:nvPr/>
          </p:nvGrpSpPr>
          <p:grpSpPr>
            <a:xfrm>
              <a:off x="11116624" y="173688"/>
              <a:ext cx="365760" cy="365760"/>
              <a:chOff x="6806797" y="2076826"/>
              <a:chExt cx="685804" cy="685804"/>
            </a:xfrm>
            <a:solidFill>
              <a:schemeClr val="bg1">
                <a:lumMod val="75000"/>
              </a:schemeClr>
            </a:solidFill>
          </p:grpSpPr>
          <p:sp>
            <p:nvSpPr>
              <p:cNvPr id="15" name="Freeform 623">
                <a:extLst>
                  <a:ext uri="{FF2B5EF4-FFF2-40B4-BE49-F238E27FC236}">
                    <a16:creationId xmlns:a16="http://schemas.microsoft.com/office/drawing/2014/main" id="{A4FD5118-54E1-AB45-A285-8EC74B0C2A0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06797" y="2076826"/>
                <a:ext cx="685804" cy="685804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pic>
            <p:nvPicPr>
              <p:cNvPr id="16" name="Graphic 15" descr="Target">
                <a:extLst>
                  <a:ext uri="{FF2B5EF4-FFF2-40B4-BE49-F238E27FC236}">
                    <a16:creationId xmlns:a16="http://schemas.microsoft.com/office/drawing/2014/main" id="{F49CF584-F4A5-1646-8AF3-B500F507B81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6852519" y="2122548"/>
                <a:ext cx="594360" cy="594360"/>
              </a:xfrm>
              <a:prstGeom prst="rect">
                <a:avLst/>
              </a:prstGeom>
            </p:spPr>
          </p:pic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7F71AAC5-B834-D242-BB6F-8A482CE61E94}"/>
                </a:ext>
              </a:extLst>
            </p:cNvPr>
            <p:cNvGrpSpPr/>
            <p:nvPr/>
          </p:nvGrpSpPr>
          <p:grpSpPr>
            <a:xfrm>
              <a:off x="11538918" y="173688"/>
              <a:ext cx="365760" cy="365760"/>
              <a:chOff x="6806753" y="3091011"/>
              <a:chExt cx="685800" cy="685800"/>
            </a:xfrm>
            <a:solidFill>
              <a:schemeClr val="bg1">
                <a:lumMod val="75000"/>
              </a:schemeClr>
            </a:solidFill>
          </p:grpSpPr>
          <p:sp>
            <p:nvSpPr>
              <p:cNvPr id="13" name="Freeform 727">
                <a:extLst>
                  <a:ext uri="{FF2B5EF4-FFF2-40B4-BE49-F238E27FC236}">
                    <a16:creationId xmlns:a16="http://schemas.microsoft.com/office/drawing/2014/main" id="{EB066332-9C45-C14B-878C-C484243F361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06753" y="3091011"/>
                <a:ext cx="685800" cy="685800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pic>
            <p:nvPicPr>
              <p:cNvPr id="14" name="Graphic 13" descr="Head with gears">
                <a:extLst>
                  <a:ext uri="{FF2B5EF4-FFF2-40B4-BE49-F238E27FC236}">
                    <a16:creationId xmlns:a16="http://schemas.microsoft.com/office/drawing/2014/main" id="{4B6CB2A0-BC97-DA40-A5FE-F028EA0A512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6932592" y="3216850"/>
                <a:ext cx="434123" cy="434123"/>
              </a:xfrm>
              <a:prstGeom prst="rect">
                <a:avLst/>
              </a:prstGeom>
            </p:spPr>
          </p:pic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BF1345B2-7AD3-6A47-B893-68DE43D819F9}"/>
                </a:ext>
              </a:extLst>
            </p:cNvPr>
            <p:cNvGrpSpPr/>
            <p:nvPr/>
          </p:nvGrpSpPr>
          <p:grpSpPr>
            <a:xfrm>
              <a:off x="10694331" y="173688"/>
              <a:ext cx="365760" cy="365760"/>
              <a:chOff x="6806753" y="2142199"/>
              <a:chExt cx="685804" cy="685804"/>
            </a:xfrm>
          </p:grpSpPr>
          <p:sp>
            <p:nvSpPr>
              <p:cNvPr id="11" name="Freeform 623">
                <a:extLst>
                  <a:ext uri="{FF2B5EF4-FFF2-40B4-BE49-F238E27FC236}">
                    <a16:creationId xmlns:a16="http://schemas.microsoft.com/office/drawing/2014/main" id="{15FD7F61-1750-854A-9E62-FE580DC1D5E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06753" y="2142199"/>
                <a:ext cx="685804" cy="685804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solidFill>
                <a:srgbClr val="36B9EE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pic>
            <p:nvPicPr>
              <p:cNvPr id="12" name="Graphic 11" descr="Badge Tick outline">
                <a:extLst>
                  <a:ext uri="{FF2B5EF4-FFF2-40B4-BE49-F238E27FC236}">
                    <a16:creationId xmlns:a16="http://schemas.microsoft.com/office/drawing/2014/main" id="{32933E97-681E-AD44-99AA-4FDAFC6D4F0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6834429" y="2170883"/>
                <a:ext cx="628436" cy="628436"/>
              </a:xfrm>
              <a:prstGeom prst="rect">
                <a:avLst/>
              </a:prstGeom>
            </p:spPr>
          </p:pic>
        </p:grpSp>
      </p:grpSp>
      <p:sp>
        <p:nvSpPr>
          <p:cNvPr id="23" name="Content Placeholder 1">
            <a:extLst>
              <a:ext uri="{FF2B5EF4-FFF2-40B4-BE49-F238E27FC236}">
                <a16:creationId xmlns:a16="http://schemas.microsoft.com/office/drawing/2014/main" id="{BEE15851-939A-1A44-A774-AF03855559D8}"/>
              </a:ext>
            </a:extLst>
          </p:cNvPr>
          <p:cNvSpPr txBox="1">
            <a:spLocks/>
          </p:cNvSpPr>
          <p:nvPr/>
        </p:nvSpPr>
        <p:spPr>
          <a:xfrm>
            <a:off x="464998" y="1676400"/>
            <a:ext cx="2397946" cy="4705351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 spc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spc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spc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spc="0" baseline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spc="0" baseline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he People_Pillar_Q19 sheet chart is an exception to the standard slider chart. Display settings a different to accommodate a custom style of question and answer format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itle and text fields are static text boxe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X Axis text are added as point annotations specific to each row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BF9A7E20-C5DD-2A4A-9E70-AA50A0E9B7BA}"/>
              </a:ext>
            </a:extLst>
          </p:cNvPr>
          <p:cNvSpPr txBox="1">
            <a:spLocks/>
          </p:cNvSpPr>
          <p:nvPr/>
        </p:nvSpPr>
        <p:spPr>
          <a:xfrm>
            <a:off x="469900" y="1127760"/>
            <a:ext cx="2393043" cy="548640"/>
          </a:xfrm>
          <a:prstGeom prst="rect">
            <a:avLst/>
          </a:prstGeom>
          <a:solidFill>
            <a:srgbClr val="7ACAEE"/>
          </a:solidFill>
        </p:spPr>
        <p:txBody>
          <a:bodyPr anchor="ctr"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 spc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spc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spc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spc="0" baseline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spc="0" baseline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/>
              <a:t>Slider Chart Exception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D1402C73-11CF-7C4E-9D24-9E3B9BDF2DEB}"/>
              </a:ext>
            </a:extLst>
          </p:cNvPr>
          <p:cNvSpPr txBox="1"/>
          <p:nvPr/>
        </p:nvSpPr>
        <p:spPr>
          <a:xfrm>
            <a:off x="3033859" y="4167037"/>
            <a:ext cx="4484541" cy="5386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1000" dirty="0">
                <a:solidFill>
                  <a:srgbClr val="31313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eople_Pillar_Q19 as it appears in the dashboard.</a:t>
            </a:r>
          </a:p>
          <a:p>
            <a:pPr>
              <a:spcBef>
                <a:spcPts val="600"/>
              </a:spcBef>
              <a:buSzPct val="100000"/>
            </a:pPr>
            <a:r>
              <a:rPr lang="en-US" sz="1000" dirty="0">
                <a:solidFill>
                  <a:srgbClr val="31313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itle and left-hand side text are static text boxes. </a:t>
            </a:r>
            <a:r>
              <a:rPr lang="en-US" sz="1000" b="1" dirty="0">
                <a:solidFill>
                  <a:srgbClr val="C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view to make sure these are displaying the correct data, text, and X axis labels.</a:t>
            </a:r>
          </a:p>
        </p:txBody>
      </p:sp>
      <p:pic>
        <p:nvPicPr>
          <p:cNvPr id="19" name="Picture 18" descr="A picture containing chart&#10;&#10;Description automatically generated">
            <a:extLst>
              <a:ext uri="{FF2B5EF4-FFF2-40B4-BE49-F238E27FC236}">
                <a16:creationId xmlns:a16="http://schemas.microsoft.com/office/drawing/2014/main" id="{3F60A9F9-071D-8D42-BEA5-1CE9203F1A1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40563" y="1127760"/>
            <a:ext cx="2575308" cy="1747947"/>
          </a:xfrm>
          <a:prstGeom prst="rect">
            <a:avLst/>
          </a:prstGeom>
          <a:ln>
            <a:solidFill>
              <a:schemeClr val="bg2"/>
            </a:solidFill>
          </a:ln>
        </p:spPr>
      </p:pic>
      <p:pic>
        <p:nvPicPr>
          <p:cNvPr id="25" name="Picture 24" descr="Chart, bubble chart&#10;&#10;Description automatically generated">
            <a:extLst>
              <a:ext uri="{FF2B5EF4-FFF2-40B4-BE49-F238E27FC236}">
                <a16:creationId xmlns:a16="http://schemas.microsoft.com/office/drawing/2014/main" id="{349C2FC6-EF5E-E946-AFB7-70A8E93759E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33859" y="1127760"/>
            <a:ext cx="5535789" cy="2946468"/>
          </a:xfrm>
          <a:prstGeom prst="rect">
            <a:avLst/>
          </a:prstGeom>
          <a:ln>
            <a:solidFill>
              <a:srgbClr val="C00000"/>
            </a:solidFill>
          </a:ln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id="{1CBCB505-C0B8-9A47-872B-CB77011110FF}"/>
              </a:ext>
            </a:extLst>
          </p:cNvPr>
          <p:cNvSpPr txBox="1"/>
          <p:nvPr/>
        </p:nvSpPr>
        <p:spPr>
          <a:xfrm>
            <a:off x="8734251" y="2875707"/>
            <a:ext cx="257530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1000" dirty="0">
                <a:solidFill>
                  <a:srgbClr val="31313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nnotation to show custom X axis labels</a:t>
            </a:r>
          </a:p>
        </p:txBody>
      </p:sp>
    </p:spTree>
    <p:extLst>
      <p:ext uri="{BB962C8B-B14F-4D97-AF65-F5344CB8AC3E}">
        <p14:creationId xmlns:p14="http://schemas.microsoft.com/office/powerpoint/2010/main" val="3909422455"/>
      </p:ext>
    </p:extLst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5DAED6B1-6292-6247-980F-02C1909970F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9900" y="736689"/>
            <a:ext cx="11252200" cy="283090"/>
          </a:xfrm>
        </p:spPr>
        <p:txBody>
          <a:bodyPr/>
          <a:lstStyle/>
          <a:p>
            <a:r>
              <a:rPr lang="en-US" sz="1200" dirty="0"/>
              <a:t>Set-up for Radar chart on Dashboard 1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3EC109-DCC4-D84A-96DD-9E1DD06C1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3563"/>
          </a:xfrm>
        </p:spPr>
        <p:txBody>
          <a:bodyPr/>
          <a:lstStyle/>
          <a:p>
            <a:r>
              <a:rPr lang="en-US" b="1" dirty="0"/>
              <a:t>Charts </a:t>
            </a:r>
            <a:r>
              <a:rPr lang="en-US" b="1" spc="0" dirty="0"/>
              <a:t>| </a:t>
            </a:r>
            <a:r>
              <a:rPr lang="en-US" spc="0" dirty="0"/>
              <a:t>Radar Chart (1 of 2)</a:t>
            </a:r>
            <a:endParaRPr lang="en-US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E6DFAAE-C9C6-9D46-B795-9BC79C578A16}"/>
              </a:ext>
            </a:extLst>
          </p:cNvPr>
          <p:cNvGrpSpPr/>
          <p:nvPr/>
        </p:nvGrpSpPr>
        <p:grpSpPr>
          <a:xfrm>
            <a:off x="10272038" y="173150"/>
            <a:ext cx="1632640" cy="366837"/>
            <a:chOff x="10272038" y="173150"/>
            <a:chExt cx="1632640" cy="366837"/>
          </a:xfrm>
        </p:grpSpPr>
        <p:grpSp>
          <p:nvGrpSpPr>
            <p:cNvPr id="7" name="Group 53">
              <a:extLst>
                <a:ext uri="{FF2B5EF4-FFF2-40B4-BE49-F238E27FC236}">
                  <a16:creationId xmlns:a16="http://schemas.microsoft.com/office/drawing/2014/main" id="{6C2C28C1-636A-1340-B840-A66A9F1DF6AB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0272038" y="173150"/>
              <a:ext cx="365760" cy="366837"/>
              <a:chOff x="5183" y="1046"/>
              <a:chExt cx="340" cy="341"/>
            </a:xfrm>
            <a:solidFill>
              <a:schemeClr val="bg1">
                <a:lumMod val="75000"/>
              </a:schemeClr>
            </a:solidFill>
          </p:grpSpPr>
          <p:sp>
            <p:nvSpPr>
              <p:cNvPr id="17" name="Freeform 54">
                <a:extLst>
                  <a:ext uri="{FF2B5EF4-FFF2-40B4-BE49-F238E27FC236}">
                    <a16:creationId xmlns:a16="http://schemas.microsoft.com/office/drawing/2014/main" id="{B3E3306A-20E7-4246-B14C-099787069D1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47" y="1110"/>
                <a:ext cx="212" cy="213"/>
              </a:xfrm>
              <a:custGeom>
                <a:avLst/>
                <a:gdLst>
                  <a:gd name="T0" fmla="*/ 160 w 320"/>
                  <a:gd name="T1" fmla="*/ 0 h 320"/>
                  <a:gd name="T2" fmla="*/ 0 w 320"/>
                  <a:gd name="T3" fmla="*/ 160 h 320"/>
                  <a:gd name="T4" fmla="*/ 160 w 320"/>
                  <a:gd name="T5" fmla="*/ 320 h 320"/>
                  <a:gd name="T6" fmla="*/ 320 w 320"/>
                  <a:gd name="T7" fmla="*/ 160 h 320"/>
                  <a:gd name="T8" fmla="*/ 160 w 320"/>
                  <a:gd name="T9" fmla="*/ 0 h 320"/>
                  <a:gd name="T10" fmla="*/ 283 w 320"/>
                  <a:gd name="T11" fmla="*/ 224 h 320"/>
                  <a:gd name="T12" fmla="*/ 218 w 320"/>
                  <a:gd name="T13" fmla="*/ 224 h 320"/>
                  <a:gd name="T14" fmla="*/ 223 w 320"/>
                  <a:gd name="T15" fmla="*/ 170 h 320"/>
                  <a:gd name="T16" fmla="*/ 298 w 320"/>
                  <a:gd name="T17" fmla="*/ 170 h 320"/>
                  <a:gd name="T18" fmla="*/ 283 w 320"/>
                  <a:gd name="T19" fmla="*/ 224 h 320"/>
                  <a:gd name="T20" fmla="*/ 160 w 320"/>
                  <a:gd name="T21" fmla="*/ 298 h 320"/>
                  <a:gd name="T22" fmla="*/ 127 w 320"/>
                  <a:gd name="T23" fmla="*/ 245 h 320"/>
                  <a:gd name="T24" fmla="*/ 192 w 320"/>
                  <a:gd name="T25" fmla="*/ 245 h 320"/>
                  <a:gd name="T26" fmla="*/ 160 w 320"/>
                  <a:gd name="T27" fmla="*/ 298 h 320"/>
                  <a:gd name="T28" fmla="*/ 122 w 320"/>
                  <a:gd name="T29" fmla="*/ 224 h 320"/>
                  <a:gd name="T30" fmla="*/ 117 w 320"/>
                  <a:gd name="T31" fmla="*/ 170 h 320"/>
                  <a:gd name="T32" fmla="*/ 202 w 320"/>
                  <a:gd name="T33" fmla="*/ 170 h 320"/>
                  <a:gd name="T34" fmla="*/ 197 w 320"/>
                  <a:gd name="T35" fmla="*/ 224 h 320"/>
                  <a:gd name="T36" fmla="*/ 122 w 320"/>
                  <a:gd name="T37" fmla="*/ 224 h 320"/>
                  <a:gd name="T38" fmla="*/ 22 w 320"/>
                  <a:gd name="T39" fmla="*/ 170 h 320"/>
                  <a:gd name="T40" fmla="*/ 96 w 320"/>
                  <a:gd name="T41" fmla="*/ 170 h 320"/>
                  <a:gd name="T42" fmla="*/ 101 w 320"/>
                  <a:gd name="T43" fmla="*/ 224 h 320"/>
                  <a:gd name="T44" fmla="*/ 37 w 320"/>
                  <a:gd name="T45" fmla="*/ 224 h 320"/>
                  <a:gd name="T46" fmla="*/ 22 w 320"/>
                  <a:gd name="T47" fmla="*/ 170 h 320"/>
                  <a:gd name="T48" fmla="*/ 37 w 320"/>
                  <a:gd name="T49" fmla="*/ 96 h 320"/>
                  <a:gd name="T50" fmla="*/ 101 w 320"/>
                  <a:gd name="T51" fmla="*/ 96 h 320"/>
                  <a:gd name="T52" fmla="*/ 96 w 320"/>
                  <a:gd name="T53" fmla="*/ 149 h 320"/>
                  <a:gd name="T54" fmla="*/ 22 w 320"/>
                  <a:gd name="T55" fmla="*/ 149 h 320"/>
                  <a:gd name="T56" fmla="*/ 37 w 320"/>
                  <a:gd name="T57" fmla="*/ 96 h 320"/>
                  <a:gd name="T58" fmla="*/ 160 w 320"/>
                  <a:gd name="T59" fmla="*/ 21 h 320"/>
                  <a:gd name="T60" fmla="*/ 192 w 320"/>
                  <a:gd name="T61" fmla="*/ 74 h 320"/>
                  <a:gd name="T62" fmla="*/ 127 w 320"/>
                  <a:gd name="T63" fmla="*/ 74 h 320"/>
                  <a:gd name="T64" fmla="*/ 160 w 320"/>
                  <a:gd name="T65" fmla="*/ 21 h 320"/>
                  <a:gd name="T66" fmla="*/ 197 w 320"/>
                  <a:gd name="T67" fmla="*/ 96 h 320"/>
                  <a:gd name="T68" fmla="*/ 202 w 320"/>
                  <a:gd name="T69" fmla="*/ 149 h 320"/>
                  <a:gd name="T70" fmla="*/ 117 w 320"/>
                  <a:gd name="T71" fmla="*/ 149 h 320"/>
                  <a:gd name="T72" fmla="*/ 122 w 320"/>
                  <a:gd name="T73" fmla="*/ 96 h 320"/>
                  <a:gd name="T74" fmla="*/ 197 w 320"/>
                  <a:gd name="T75" fmla="*/ 96 h 320"/>
                  <a:gd name="T76" fmla="*/ 223 w 320"/>
                  <a:gd name="T77" fmla="*/ 149 h 320"/>
                  <a:gd name="T78" fmla="*/ 218 w 320"/>
                  <a:gd name="T79" fmla="*/ 96 h 320"/>
                  <a:gd name="T80" fmla="*/ 283 w 320"/>
                  <a:gd name="T81" fmla="*/ 96 h 320"/>
                  <a:gd name="T82" fmla="*/ 298 w 320"/>
                  <a:gd name="T83" fmla="*/ 149 h 320"/>
                  <a:gd name="T84" fmla="*/ 223 w 320"/>
                  <a:gd name="T85" fmla="*/ 149 h 320"/>
                  <a:gd name="T86" fmla="*/ 269 w 320"/>
                  <a:gd name="T87" fmla="*/ 74 h 320"/>
                  <a:gd name="T88" fmla="*/ 214 w 320"/>
                  <a:gd name="T89" fmla="*/ 74 h 320"/>
                  <a:gd name="T90" fmla="*/ 196 w 320"/>
                  <a:gd name="T91" fmla="*/ 26 h 320"/>
                  <a:gd name="T92" fmla="*/ 269 w 320"/>
                  <a:gd name="T93" fmla="*/ 74 h 320"/>
                  <a:gd name="T94" fmla="*/ 124 w 320"/>
                  <a:gd name="T95" fmla="*/ 26 h 320"/>
                  <a:gd name="T96" fmla="*/ 105 w 320"/>
                  <a:gd name="T97" fmla="*/ 74 h 320"/>
                  <a:gd name="T98" fmla="*/ 51 w 320"/>
                  <a:gd name="T99" fmla="*/ 74 h 320"/>
                  <a:gd name="T100" fmla="*/ 124 w 320"/>
                  <a:gd name="T101" fmla="*/ 26 h 320"/>
                  <a:gd name="T102" fmla="*/ 51 w 320"/>
                  <a:gd name="T103" fmla="*/ 245 h 320"/>
                  <a:gd name="T104" fmla="*/ 105 w 320"/>
                  <a:gd name="T105" fmla="*/ 245 h 320"/>
                  <a:gd name="T106" fmla="*/ 124 w 320"/>
                  <a:gd name="T107" fmla="*/ 293 h 320"/>
                  <a:gd name="T108" fmla="*/ 51 w 320"/>
                  <a:gd name="T109" fmla="*/ 245 h 320"/>
                  <a:gd name="T110" fmla="*/ 196 w 320"/>
                  <a:gd name="T111" fmla="*/ 293 h 320"/>
                  <a:gd name="T112" fmla="*/ 214 w 320"/>
                  <a:gd name="T113" fmla="*/ 245 h 320"/>
                  <a:gd name="T114" fmla="*/ 269 w 320"/>
                  <a:gd name="T115" fmla="*/ 245 h 320"/>
                  <a:gd name="T116" fmla="*/ 196 w 320"/>
                  <a:gd name="T117" fmla="*/ 293 h 3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320" h="320">
                    <a:moveTo>
                      <a:pt x="160" y="0"/>
                    </a:moveTo>
                    <a:cubicBezTo>
                      <a:pt x="71" y="0"/>
                      <a:pt x="0" y="71"/>
                      <a:pt x="0" y="160"/>
                    </a:cubicBezTo>
                    <a:cubicBezTo>
                      <a:pt x="0" y="248"/>
                      <a:pt x="71" y="320"/>
                      <a:pt x="160" y="320"/>
                    </a:cubicBezTo>
                    <a:cubicBezTo>
                      <a:pt x="248" y="320"/>
                      <a:pt x="320" y="248"/>
                      <a:pt x="320" y="160"/>
                    </a:cubicBezTo>
                    <a:cubicBezTo>
                      <a:pt x="320" y="71"/>
                      <a:pt x="248" y="0"/>
                      <a:pt x="160" y="0"/>
                    </a:cubicBezTo>
                    <a:close/>
                    <a:moveTo>
                      <a:pt x="283" y="224"/>
                    </a:moveTo>
                    <a:cubicBezTo>
                      <a:pt x="218" y="224"/>
                      <a:pt x="218" y="224"/>
                      <a:pt x="218" y="224"/>
                    </a:cubicBezTo>
                    <a:cubicBezTo>
                      <a:pt x="221" y="207"/>
                      <a:pt x="223" y="188"/>
                      <a:pt x="223" y="170"/>
                    </a:cubicBezTo>
                    <a:cubicBezTo>
                      <a:pt x="298" y="170"/>
                      <a:pt x="298" y="170"/>
                      <a:pt x="298" y="170"/>
                    </a:cubicBezTo>
                    <a:cubicBezTo>
                      <a:pt x="296" y="189"/>
                      <a:pt x="291" y="207"/>
                      <a:pt x="283" y="224"/>
                    </a:cubicBezTo>
                    <a:close/>
                    <a:moveTo>
                      <a:pt x="160" y="298"/>
                    </a:moveTo>
                    <a:cubicBezTo>
                      <a:pt x="149" y="298"/>
                      <a:pt x="136" y="279"/>
                      <a:pt x="127" y="245"/>
                    </a:cubicBezTo>
                    <a:cubicBezTo>
                      <a:pt x="192" y="245"/>
                      <a:pt x="192" y="245"/>
                      <a:pt x="192" y="245"/>
                    </a:cubicBezTo>
                    <a:cubicBezTo>
                      <a:pt x="183" y="279"/>
                      <a:pt x="170" y="298"/>
                      <a:pt x="160" y="298"/>
                    </a:cubicBezTo>
                    <a:close/>
                    <a:moveTo>
                      <a:pt x="122" y="224"/>
                    </a:moveTo>
                    <a:cubicBezTo>
                      <a:pt x="120" y="208"/>
                      <a:pt x="118" y="190"/>
                      <a:pt x="117" y="170"/>
                    </a:cubicBezTo>
                    <a:cubicBezTo>
                      <a:pt x="202" y="170"/>
                      <a:pt x="202" y="170"/>
                      <a:pt x="202" y="170"/>
                    </a:cubicBezTo>
                    <a:cubicBezTo>
                      <a:pt x="202" y="190"/>
                      <a:pt x="200" y="208"/>
                      <a:pt x="197" y="224"/>
                    </a:cubicBezTo>
                    <a:lnTo>
                      <a:pt x="122" y="224"/>
                    </a:lnTo>
                    <a:close/>
                    <a:moveTo>
                      <a:pt x="22" y="170"/>
                    </a:moveTo>
                    <a:cubicBezTo>
                      <a:pt x="96" y="170"/>
                      <a:pt x="96" y="170"/>
                      <a:pt x="96" y="170"/>
                    </a:cubicBezTo>
                    <a:cubicBezTo>
                      <a:pt x="96" y="188"/>
                      <a:pt x="98" y="207"/>
                      <a:pt x="101" y="224"/>
                    </a:cubicBezTo>
                    <a:cubicBezTo>
                      <a:pt x="37" y="224"/>
                      <a:pt x="37" y="224"/>
                      <a:pt x="37" y="224"/>
                    </a:cubicBezTo>
                    <a:cubicBezTo>
                      <a:pt x="28" y="207"/>
                      <a:pt x="23" y="189"/>
                      <a:pt x="22" y="170"/>
                    </a:cubicBezTo>
                    <a:close/>
                    <a:moveTo>
                      <a:pt x="37" y="96"/>
                    </a:moveTo>
                    <a:cubicBezTo>
                      <a:pt x="101" y="96"/>
                      <a:pt x="101" y="96"/>
                      <a:pt x="101" y="96"/>
                    </a:cubicBezTo>
                    <a:cubicBezTo>
                      <a:pt x="98" y="113"/>
                      <a:pt x="96" y="131"/>
                      <a:pt x="96" y="149"/>
                    </a:cubicBezTo>
                    <a:cubicBezTo>
                      <a:pt x="22" y="149"/>
                      <a:pt x="22" y="149"/>
                      <a:pt x="22" y="149"/>
                    </a:cubicBezTo>
                    <a:cubicBezTo>
                      <a:pt x="23" y="130"/>
                      <a:pt x="28" y="112"/>
                      <a:pt x="37" y="96"/>
                    </a:cubicBezTo>
                    <a:close/>
                    <a:moveTo>
                      <a:pt x="160" y="21"/>
                    </a:moveTo>
                    <a:cubicBezTo>
                      <a:pt x="170" y="21"/>
                      <a:pt x="183" y="41"/>
                      <a:pt x="192" y="74"/>
                    </a:cubicBezTo>
                    <a:cubicBezTo>
                      <a:pt x="127" y="74"/>
                      <a:pt x="127" y="74"/>
                      <a:pt x="127" y="74"/>
                    </a:cubicBezTo>
                    <a:cubicBezTo>
                      <a:pt x="136" y="41"/>
                      <a:pt x="149" y="21"/>
                      <a:pt x="160" y="21"/>
                    </a:cubicBezTo>
                    <a:close/>
                    <a:moveTo>
                      <a:pt x="197" y="96"/>
                    </a:moveTo>
                    <a:cubicBezTo>
                      <a:pt x="200" y="111"/>
                      <a:pt x="202" y="129"/>
                      <a:pt x="202" y="149"/>
                    </a:cubicBezTo>
                    <a:cubicBezTo>
                      <a:pt x="117" y="149"/>
                      <a:pt x="117" y="149"/>
                      <a:pt x="117" y="149"/>
                    </a:cubicBezTo>
                    <a:cubicBezTo>
                      <a:pt x="118" y="129"/>
                      <a:pt x="120" y="111"/>
                      <a:pt x="122" y="96"/>
                    </a:cubicBezTo>
                    <a:lnTo>
                      <a:pt x="197" y="96"/>
                    </a:lnTo>
                    <a:close/>
                    <a:moveTo>
                      <a:pt x="223" y="149"/>
                    </a:moveTo>
                    <a:cubicBezTo>
                      <a:pt x="223" y="131"/>
                      <a:pt x="221" y="113"/>
                      <a:pt x="218" y="96"/>
                    </a:cubicBezTo>
                    <a:cubicBezTo>
                      <a:pt x="283" y="96"/>
                      <a:pt x="283" y="96"/>
                      <a:pt x="283" y="96"/>
                    </a:cubicBezTo>
                    <a:cubicBezTo>
                      <a:pt x="291" y="112"/>
                      <a:pt x="296" y="130"/>
                      <a:pt x="298" y="149"/>
                    </a:cubicBezTo>
                    <a:lnTo>
                      <a:pt x="223" y="149"/>
                    </a:lnTo>
                    <a:close/>
                    <a:moveTo>
                      <a:pt x="269" y="74"/>
                    </a:moveTo>
                    <a:cubicBezTo>
                      <a:pt x="214" y="74"/>
                      <a:pt x="214" y="74"/>
                      <a:pt x="214" y="74"/>
                    </a:cubicBezTo>
                    <a:cubicBezTo>
                      <a:pt x="210" y="55"/>
                      <a:pt x="203" y="39"/>
                      <a:pt x="196" y="26"/>
                    </a:cubicBezTo>
                    <a:cubicBezTo>
                      <a:pt x="225" y="34"/>
                      <a:pt x="251" y="51"/>
                      <a:pt x="269" y="74"/>
                    </a:cubicBezTo>
                    <a:close/>
                    <a:moveTo>
                      <a:pt x="124" y="26"/>
                    </a:moveTo>
                    <a:cubicBezTo>
                      <a:pt x="116" y="39"/>
                      <a:pt x="110" y="55"/>
                      <a:pt x="105" y="74"/>
                    </a:cubicBezTo>
                    <a:cubicBezTo>
                      <a:pt x="51" y="74"/>
                      <a:pt x="51" y="74"/>
                      <a:pt x="51" y="74"/>
                    </a:cubicBezTo>
                    <a:cubicBezTo>
                      <a:pt x="69" y="51"/>
                      <a:pt x="94" y="34"/>
                      <a:pt x="124" y="26"/>
                    </a:cubicBezTo>
                    <a:close/>
                    <a:moveTo>
                      <a:pt x="51" y="245"/>
                    </a:moveTo>
                    <a:cubicBezTo>
                      <a:pt x="105" y="245"/>
                      <a:pt x="105" y="245"/>
                      <a:pt x="105" y="245"/>
                    </a:cubicBezTo>
                    <a:cubicBezTo>
                      <a:pt x="110" y="264"/>
                      <a:pt x="116" y="281"/>
                      <a:pt x="124" y="293"/>
                    </a:cubicBezTo>
                    <a:cubicBezTo>
                      <a:pt x="94" y="285"/>
                      <a:pt x="69" y="268"/>
                      <a:pt x="51" y="245"/>
                    </a:cubicBezTo>
                    <a:close/>
                    <a:moveTo>
                      <a:pt x="196" y="293"/>
                    </a:moveTo>
                    <a:cubicBezTo>
                      <a:pt x="203" y="281"/>
                      <a:pt x="210" y="264"/>
                      <a:pt x="214" y="245"/>
                    </a:cubicBezTo>
                    <a:cubicBezTo>
                      <a:pt x="269" y="245"/>
                      <a:pt x="269" y="245"/>
                      <a:pt x="269" y="245"/>
                    </a:cubicBezTo>
                    <a:cubicBezTo>
                      <a:pt x="251" y="268"/>
                      <a:pt x="225" y="285"/>
                      <a:pt x="196" y="29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" name="Freeform 55">
                <a:extLst>
                  <a:ext uri="{FF2B5EF4-FFF2-40B4-BE49-F238E27FC236}">
                    <a16:creationId xmlns:a16="http://schemas.microsoft.com/office/drawing/2014/main" id="{C6023F7A-281F-C844-BA27-C60AACC50B4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83" y="1046"/>
                <a:ext cx="340" cy="341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A6030B49-ABBA-714D-8A34-EC40E7E014FC}"/>
                </a:ext>
              </a:extLst>
            </p:cNvPr>
            <p:cNvGrpSpPr/>
            <p:nvPr/>
          </p:nvGrpSpPr>
          <p:grpSpPr>
            <a:xfrm>
              <a:off x="11116624" y="173688"/>
              <a:ext cx="365760" cy="365760"/>
              <a:chOff x="6806797" y="2076826"/>
              <a:chExt cx="685804" cy="685804"/>
            </a:xfrm>
            <a:solidFill>
              <a:schemeClr val="bg1">
                <a:lumMod val="75000"/>
              </a:schemeClr>
            </a:solidFill>
          </p:grpSpPr>
          <p:sp>
            <p:nvSpPr>
              <p:cNvPr id="15" name="Freeform 623">
                <a:extLst>
                  <a:ext uri="{FF2B5EF4-FFF2-40B4-BE49-F238E27FC236}">
                    <a16:creationId xmlns:a16="http://schemas.microsoft.com/office/drawing/2014/main" id="{A4FD5118-54E1-AB45-A285-8EC74B0C2A0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06797" y="2076826"/>
                <a:ext cx="685804" cy="685804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pic>
            <p:nvPicPr>
              <p:cNvPr id="16" name="Graphic 15" descr="Target">
                <a:extLst>
                  <a:ext uri="{FF2B5EF4-FFF2-40B4-BE49-F238E27FC236}">
                    <a16:creationId xmlns:a16="http://schemas.microsoft.com/office/drawing/2014/main" id="{F49CF584-F4A5-1646-8AF3-B500F507B81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6852519" y="2122548"/>
                <a:ext cx="594360" cy="594360"/>
              </a:xfrm>
              <a:prstGeom prst="rect">
                <a:avLst/>
              </a:prstGeom>
            </p:spPr>
          </p:pic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7F71AAC5-B834-D242-BB6F-8A482CE61E94}"/>
                </a:ext>
              </a:extLst>
            </p:cNvPr>
            <p:cNvGrpSpPr/>
            <p:nvPr/>
          </p:nvGrpSpPr>
          <p:grpSpPr>
            <a:xfrm>
              <a:off x="11538918" y="173688"/>
              <a:ext cx="365760" cy="365760"/>
              <a:chOff x="6806753" y="3091011"/>
              <a:chExt cx="685800" cy="685800"/>
            </a:xfrm>
            <a:solidFill>
              <a:schemeClr val="bg1">
                <a:lumMod val="75000"/>
              </a:schemeClr>
            </a:solidFill>
          </p:grpSpPr>
          <p:sp>
            <p:nvSpPr>
              <p:cNvPr id="13" name="Freeform 727">
                <a:extLst>
                  <a:ext uri="{FF2B5EF4-FFF2-40B4-BE49-F238E27FC236}">
                    <a16:creationId xmlns:a16="http://schemas.microsoft.com/office/drawing/2014/main" id="{EB066332-9C45-C14B-878C-C484243F361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06753" y="3091011"/>
                <a:ext cx="685800" cy="685800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pic>
            <p:nvPicPr>
              <p:cNvPr id="14" name="Graphic 13" descr="Head with gears">
                <a:extLst>
                  <a:ext uri="{FF2B5EF4-FFF2-40B4-BE49-F238E27FC236}">
                    <a16:creationId xmlns:a16="http://schemas.microsoft.com/office/drawing/2014/main" id="{4B6CB2A0-BC97-DA40-A5FE-F028EA0A512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6932592" y="3216850"/>
                <a:ext cx="434123" cy="434123"/>
              </a:xfrm>
              <a:prstGeom prst="rect">
                <a:avLst/>
              </a:prstGeom>
            </p:spPr>
          </p:pic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BF1345B2-7AD3-6A47-B893-68DE43D819F9}"/>
                </a:ext>
              </a:extLst>
            </p:cNvPr>
            <p:cNvGrpSpPr/>
            <p:nvPr/>
          </p:nvGrpSpPr>
          <p:grpSpPr>
            <a:xfrm>
              <a:off x="10694331" y="173688"/>
              <a:ext cx="365760" cy="365760"/>
              <a:chOff x="6806753" y="2142199"/>
              <a:chExt cx="685804" cy="685804"/>
            </a:xfrm>
          </p:grpSpPr>
          <p:sp>
            <p:nvSpPr>
              <p:cNvPr id="11" name="Freeform 623">
                <a:extLst>
                  <a:ext uri="{FF2B5EF4-FFF2-40B4-BE49-F238E27FC236}">
                    <a16:creationId xmlns:a16="http://schemas.microsoft.com/office/drawing/2014/main" id="{15FD7F61-1750-854A-9E62-FE580DC1D5E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06753" y="2142199"/>
                <a:ext cx="685804" cy="685804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solidFill>
                <a:srgbClr val="36B9EE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pic>
            <p:nvPicPr>
              <p:cNvPr id="12" name="Graphic 11" descr="Badge Tick outline">
                <a:extLst>
                  <a:ext uri="{FF2B5EF4-FFF2-40B4-BE49-F238E27FC236}">
                    <a16:creationId xmlns:a16="http://schemas.microsoft.com/office/drawing/2014/main" id="{32933E97-681E-AD44-99AA-4FDAFC6D4F0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6834429" y="2170883"/>
                <a:ext cx="628436" cy="628436"/>
              </a:xfrm>
              <a:prstGeom prst="rect">
                <a:avLst/>
              </a:prstGeom>
            </p:spPr>
          </p:pic>
        </p:grpSp>
      </p:grpSp>
      <p:sp>
        <p:nvSpPr>
          <p:cNvPr id="23" name="Content Placeholder 1">
            <a:extLst>
              <a:ext uri="{FF2B5EF4-FFF2-40B4-BE49-F238E27FC236}">
                <a16:creationId xmlns:a16="http://schemas.microsoft.com/office/drawing/2014/main" id="{BEE15851-939A-1A44-A774-AF03855559D8}"/>
              </a:ext>
            </a:extLst>
          </p:cNvPr>
          <p:cNvSpPr txBox="1">
            <a:spLocks/>
          </p:cNvSpPr>
          <p:nvPr/>
        </p:nvSpPr>
        <p:spPr>
          <a:xfrm>
            <a:off x="464998" y="1676400"/>
            <a:ext cx="2397946" cy="4705351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 spc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spc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spc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spc="0" baseline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spc="0" baseline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he radar chart is dependent on Q-</a:t>
            </a:r>
            <a:r>
              <a:rPr lang="en-US" dirty="0" err="1"/>
              <a:t>Pillar_Group</a:t>
            </a:r>
            <a:r>
              <a:rPr lang="en-US" dirty="0"/>
              <a:t> to only display data from selected questions. (Not all survey questions contribute to a Pillar score.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Custom </a:t>
            </a:r>
            <a:r>
              <a:rPr lang="en-US" dirty="0" err="1"/>
              <a:t>Radar_X</a:t>
            </a:r>
            <a:r>
              <a:rPr lang="en-US" dirty="0"/>
              <a:t> and </a:t>
            </a:r>
            <a:r>
              <a:rPr lang="en-US" dirty="0" err="1"/>
              <a:t>Radar_Y</a:t>
            </a:r>
            <a:r>
              <a:rPr lang="en-US" dirty="0"/>
              <a:t> calculations were used to set points and draw the chart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he circular axis is a custom mapped image. </a:t>
            </a:r>
            <a:r>
              <a:rPr lang="en-US" dirty="0"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ee tutorial for adding a background image.</a:t>
            </a: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eference this Tableau tutorial to create a radar chart.</a:t>
            </a: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BF9A7E20-C5DD-2A4A-9E70-AA50A0E9B7BA}"/>
              </a:ext>
            </a:extLst>
          </p:cNvPr>
          <p:cNvSpPr txBox="1">
            <a:spLocks/>
          </p:cNvSpPr>
          <p:nvPr/>
        </p:nvSpPr>
        <p:spPr>
          <a:xfrm>
            <a:off x="469900" y="1127760"/>
            <a:ext cx="2393043" cy="548640"/>
          </a:xfrm>
          <a:prstGeom prst="rect">
            <a:avLst/>
          </a:prstGeom>
          <a:solidFill>
            <a:srgbClr val="7ACAEE"/>
          </a:solidFill>
        </p:spPr>
        <p:txBody>
          <a:bodyPr anchor="ctr"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 spc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spc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spc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spc="0" baseline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spc="0" baseline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/>
              <a:t>Settings and Filter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E54C6639-15DA-964F-9C4E-0FE7DF983E53}"/>
              </a:ext>
            </a:extLst>
          </p:cNvPr>
          <p:cNvSpPr txBox="1"/>
          <p:nvPr/>
        </p:nvSpPr>
        <p:spPr>
          <a:xfrm>
            <a:off x="3011533" y="5066601"/>
            <a:ext cx="2989181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1000" dirty="0">
                <a:solidFill>
                  <a:srgbClr val="31313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ettings for radar chart.</a:t>
            </a:r>
          </a:p>
        </p:txBody>
      </p:sp>
      <p:pic>
        <p:nvPicPr>
          <p:cNvPr id="5" name="Picture 4" descr="Chart, radar chart&#10;&#10;Description automatically generated">
            <a:extLst>
              <a:ext uri="{FF2B5EF4-FFF2-40B4-BE49-F238E27FC236}">
                <a16:creationId xmlns:a16="http://schemas.microsoft.com/office/drawing/2014/main" id="{26684F28-3216-7643-9522-1B1CDC13A80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11533" y="1127760"/>
            <a:ext cx="5161623" cy="3948148"/>
          </a:xfrm>
          <a:prstGeom prst="rect">
            <a:avLst/>
          </a:prstGeom>
          <a:ln>
            <a:solidFill>
              <a:schemeClr val="bg2"/>
            </a:solidFill>
          </a:ln>
        </p:spPr>
      </p:pic>
      <p:pic>
        <p:nvPicPr>
          <p:cNvPr id="21" name="Picture 20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6DC1C6EA-4DA5-E14C-A247-06C72572BD43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6075" y="1127760"/>
            <a:ext cx="2406019" cy="2664383"/>
          </a:xfrm>
          <a:prstGeom prst="rect">
            <a:avLst/>
          </a:prstGeom>
        </p:spPr>
      </p:pic>
      <p:pic>
        <p:nvPicPr>
          <p:cNvPr id="25" name="Picture 24" descr="Graphical user interface, table&#10;&#10;Description automatically generated">
            <a:extLst>
              <a:ext uri="{FF2B5EF4-FFF2-40B4-BE49-F238E27FC236}">
                <a16:creationId xmlns:a16="http://schemas.microsoft.com/office/drawing/2014/main" id="{AEED1CEC-4288-8649-808F-167483FF90F4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14147" y="3900124"/>
            <a:ext cx="2397946" cy="2664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5562513"/>
      </p:ext>
    </p:extLst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5DAED6B1-6292-6247-980F-02C1909970F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9900" y="736689"/>
            <a:ext cx="11252200" cy="283090"/>
          </a:xfrm>
        </p:spPr>
        <p:txBody>
          <a:bodyPr/>
          <a:lstStyle/>
          <a:p>
            <a:r>
              <a:rPr lang="en-US" sz="1200" dirty="0"/>
              <a:t>Set-up for Radar chart on Dashboard 1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3EC109-DCC4-D84A-96DD-9E1DD06C1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3563"/>
          </a:xfrm>
        </p:spPr>
        <p:txBody>
          <a:bodyPr/>
          <a:lstStyle/>
          <a:p>
            <a:r>
              <a:rPr lang="en-US" b="1" dirty="0"/>
              <a:t>Charts </a:t>
            </a:r>
            <a:r>
              <a:rPr lang="en-US" b="1" spc="0" dirty="0"/>
              <a:t>| </a:t>
            </a:r>
            <a:r>
              <a:rPr lang="en-US" spc="0" dirty="0"/>
              <a:t>Radar Chart (2 of 2)</a:t>
            </a:r>
            <a:endParaRPr lang="en-US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E6DFAAE-C9C6-9D46-B795-9BC79C578A16}"/>
              </a:ext>
            </a:extLst>
          </p:cNvPr>
          <p:cNvGrpSpPr/>
          <p:nvPr/>
        </p:nvGrpSpPr>
        <p:grpSpPr>
          <a:xfrm>
            <a:off x="10272038" y="173150"/>
            <a:ext cx="1632640" cy="366837"/>
            <a:chOff x="10272038" y="173150"/>
            <a:chExt cx="1632640" cy="366837"/>
          </a:xfrm>
        </p:grpSpPr>
        <p:grpSp>
          <p:nvGrpSpPr>
            <p:cNvPr id="7" name="Group 53">
              <a:extLst>
                <a:ext uri="{FF2B5EF4-FFF2-40B4-BE49-F238E27FC236}">
                  <a16:creationId xmlns:a16="http://schemas.microsoft.com/office/drawing/2014/main" id="{6C2C28C1-636A-1340-B840-A66A9F1DF6AB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0272038" y="173150"/>
              <a:ext cx="365760" cy="366837"/>
              <a:chOff x="5183" y="1046"/>
              <a:chExt cx="340" cy="341"/>
            </a:xfrm>
            <a:solidFill>
              <a:schemeClr val="bg1">
                <a:lumMod val="75000"/>
              </a:schemeClr>
            </a:solidFill>
          </p:grpSpPr>
          <p:sp>
            <p:nvSpPr>
              <p:cNvPr id="17" name="Freeform 54">
                <a:extLst>
                  <a:ext uri="{FF2B5EF4-FFF2-40B4-BE49-F238E27FC236}">
                    <a16:creationId xmlns:a16="http://schemas.microsoft.com/office/drawing/2014/main" id="{B3E3306A-20E7-4246-B14C-099787069D1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47" y="1110"/>
                <a:ext cx="212" cy="213"/>
              </a:xfrm>
              <a:custGeom>
                <a:avLst/>
                <a:gdLst>
                  <a:gd name="T0" fmla="*/ 160 w 320"/>
                  <a:gd name="T1" fmla="*/ 0 h 320"/>
                  <a:gd name="T2" fmla="*/ 0 w 320"/>
                  <a:gd name="T3" fmla="*/ 160 h 320"/>
                  <a:gd name="T4" fmla="*/ 160 w 320"/>
                  <a:gd name="T5" fmla="*/ 320 h 320"/>
                  <a:gd name="T6" fmla="*/ 320 w 320"/>
                  <a:gd name="T7" fmla="*/ 160 h 320"/>
                  <a:gd name="T8" fmla="*/ 160 w 320"/>
                  <a:gd name="T9" fmla="*/ 0 h 320"/>
                  <a:gd name="T10" fmla="*/ 283 w 320"/>
                  <a:gd name="T11" fmla="*/ 224 h 320"/>
                  <a:gd name="T12" fmla="*/ 218 w 320"/>
                  <a:gd name="T13" fmla="*/ 224 h 320"/>
                  <a:gd name="T14" fmla="*/ 223 w 320"/>
                  <a:gd name="T15" fmla="*/ 170 h 320"/>
                  <a:gd name="T16" fmla="*/ 298 w 320"/>
                  <a:gd name="T17" fmla="*/ 170 h 320"/>
                  <a:gd name="T18" fmla="*/ 283 w 320"/>
                  <a:gd name="T19" fmla="*/ 224 h 320"/>
                  <a:gd name="T20" fmla="*/ 160 w 320"/>
                  <a:gd name="T21" fmla="*/ 298 h 320"/>
                  <a:gd name="T22" fmla="*/ 127 w 320"/>
                  <a:gd name="T23" fmla="*/ 245 h 320"/>
                  <a:gd name="T24" fmla="*/ 192 w 320"/>
                  <a:gd name="T25" fmla="*/ 245 h 320"/>
                  <a:gd name="T26" fmla="*/ 160 w 320"/>
                  <a:gd name="T27" fmla="*/ 298 h 320"/>
                  <a:gd name="T28" fmla="*/ 122 w 320"/>
                  <a:gd name="T29" fmla="*/ 224 h 320"/>
                  <a:gd name="T30" fmla="*/ 117 w 320"/>
                  <a:gd name="T31" fmla="*/ 170 h 320"/>
                  <a:gd name="T32" fmla="*/ 202 w 320"/>
                  <a:gd name="T33" fmla="*/ 170 h 320"/>
                  <a:gd name="T34" fmla="*/ 197 w 320"/>
                  <a:gd name="T35" fmla="*/ 224 h 320"/>
                  <a:gd name="T36" fmla="*/ 122 w 320"/>
                  <a:gd name="T37" fmla="*/ 224 h 320"/>
                  <a:gd name="T38" fmla="*/ 22 w 320"/>
                  <a:gd name="T39" fmla="*/ 170 h 320"/>
                  <a:gd name="T40" fmla="*/ 96 w 320"/>
                  <a:gd name="T41" fmla="*/ 170 h 320"/>
                  <a:gd name="T42" fmla="*/ 101 w 320"/>
                  <a:gd name="T43" fmla="*/ 224 h 320"/>
                  <a:gd name="T44" fmla="*/ 37 w 320"/>
                  <a:gd name="T45" fmla="*/ 224 h 320"/>
                  <a:gd name="T46" fmla="*/ 22 w 320"/>
                  <a:gd name="T47" fmla="*/ 170 h 320"/>
                  <a:gd name="T48" fmla="*/ 37 w 320"/>
                  <a:gd name="T49" fmla="*/ 96 h 320"/>
                  <a:gd name="T50" fmla="*/ 101 w 320"/>
                  <a:gd name="T51" fmla="*/ 96 h 320"/>
                  <a:gd name="T52" fmla="*/ 96 w 320"/>
                  <a:gd name="T53" fmla="*/ 149 h 320"/>
                  <a:gd name="T54" fmla="*/ 22 w 320"/>
                  <a:gd name="T55" fmla="*/ 149 h 320"/>
                  <a:gd name="T56" fmla="*/ 37 w 320"/>
                  <a:gd name="T57" fmla="*/ 96 h 320"/>
                  <a:gd name="T58" fmla="*/ 160 w 320"/>
                  <a:gd name="T59" fmla="*/ 21 h 320"/>
                  <a:gd name="T60" fmla="*/ 192 w 320"/>
                  <a:gd name="T61" fmla="*/ 74 h 320"/>
                  <a:gd name="T62" fmla="*/ 127 w 320"/>
                  <a:gd name="T63" fmla="*/ 74 h 320"/>
                  <a:gd name="T64" fmla="*/ 160 w 320"/>
                  <a:gd name="T65" fmla="*/ 21 h 320"/>
                  <a:gd name="T66" fmla="*/ 197 w 320"/>
                  <a:gd name="T67" fmla="*/ 96 h 320"/>
                  <a:gd name="T68" fmla="*/ 202 w 320"/>
                  <a:gd name="T69" fmla="*/ 149 h 320"/>
                  <a:gd name="T70" fmla="*/ 117 w 320"/>
                  <a:gd name="T71" fmla="*/ 149 h 320"/>
                  <a:gd name="T72" fmla="*/ 122 w 320"/>
                  <a:gd name="T73" fmla="*/ 96 h 320"/>
                  <a:gd name="T74" fmla="*/ 197 w 320"/>
                  <a:gd name="T75" fmla="*/ 96 h 320"/>
                  <a:gd name="T76" fmla="*/ 223 w 320"/>
                  <a:gd name="T77" fmla="*/ 149 h 320"/>
                  <a:gd name="T78" fmla="*/ 218 w 320"/>
                  <a:gd name="T79" fmla="*/ 96 h 320"/>
                  <a:gd name="T80" fmla="*/ 283 w 320"/>
                  <a:gd name="T81" fmla="*/ 96 h 320"/>
                  <a:gd name="T82" fmla="*/ 298 w 320"/>
                  <a:gd name="T83" fmla="*/ 149 h 320"/>
                  <a:gd name="T84" fmla="*/ 223 w 320"/>
                  <a:gd name="T85" fmla="*/ 149 h 320"/>
                  <a:gd name="T86" fmla="*/ 269 w 320"/>
                  <a:gd name="T87" fmla="*/ 74 h 320"/>
                  <a:gd name="T88" fmla="*/ 214 w 320"/>
                  <a:gd name="T89" fmla="*/ 74 h 320"/>
                  <a:gd name="T90" fmla="*/ 196 w 320"/>
                  <a:gd name="T91" fmla="*/ 26 h 320"/>
                  <a:gd name="T92" fmla="*/ 269 w 320"/>
                  <a:gd name="T93" fmla="*/ 74 h 320"/>
                  <a:gd name="T94" fmla="*/ 124 w 320"/>
                  <a:gd name="T95" fmla="*/ 26 h 320"/>
                  <a:gd name="T96" fmla="*/ 105 w 320"/>
                  <a:gd name="T97" fmla="*/ 74 h 320"/>
                  <a:gd name="T98" fmla="*/ 51 w 320"/>
                  <a:gd name="T99" fmla="*/ 74 h 320"/>
                  <a:gd name="T100" fmla="*/ 124 w 320"/>
                  <a:gd name="T101" fmla="*/ 26 h 320"/>
                  <a:gd name="T102" fmla="*/ 51 w 320"/>
                  <a:gd name="T103" fmla="*/ 245 h 320"/>
                  <a:gd name="T104" fmla="*/ 105 w 320"/>
                  <a:gd name="T105" fmla="*/ 245 h 320"/>
                  <a:gd name="T106" fmla="*/ 124 w 320"/>
                  <a:gd name="T107" fmla="*/ 293 h 320"/>
                  <a:gd name="T108" fmla="*/ 51 w 320"/>
                  <a:gd name="T109" fmla="*/ 245 h 320"/>
                  <a:gd name="T110" fmla="*/ 196 w 320"/>
                  <a:gd name="T111" fmla="*/ 293 h 320"/>
                  <a:gd name="T112" fmla="*/ 214 w 320"/>
                  <a:gd name="T113" fmla="*/ 245 h 320"/>
                  <a:gd name="T114" fmla="*/ 269 w 320"/>
                  <a:gd name="T115" fmla="*/ 245 h 320"/>
                  <a:gd name="T116" fmla="*/ 196 w 320"/>
                  <a:gd name="T117" fmla="*/ 293 h 3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320" h="320">
                    <a:moveTo>
                      <a:pt x="160" y="0"/>
                    </a:moveTo>
                    <a:cubicBezTo>
                      <a:pt x="71" y="0"/>
                      <a:pt x="0" y="71"/>
                      <a:pt x="0" y="160"/>
                    </a:cubicBezTo>
                    <a:cubicBezTo>
                      <a:pt x="0" y="248"/>
                      <a:pt x="71" y="320"/>
                      <a:pt x="160" y="320"/>
                    </a:cubicBezTo>
                    <a:cubicBezTo>
                      <a:pt x="248" y="320"/>
                      <a:pt x="320" y="248"/>
                      <a:pt x="320" y="160"/>
                    </a:cubicBezTo>
                    <a:cubicBezTo>
                      <a:pt x="320" y="71"/>
                      <a:pt x="248" y="0"/>
                      <a:pt x="160" y="0"/>
                    </a:cubicBezTo>
                    <a:close/>
                    <a:moveTo>
                      <a:pt x="283" y="224"/>
                    </a:moveTo>
                    <a:cubicBezTo>
                      <a:pt x="218" y="224"/>
                      <a:pt x="218" y="224"/>
                      <a:pt x="218" y="224"/>
                    </a:cubicBezTo>
                    <a:cubicBezTo>
                      <a:pt x="221" y="207"/>
                      <a:pt x="223" y="188"/>
                      <a:pt x="223" y="170"/>
                    </a:cubicBezTo>
                    <a:cubicBezTo>
                      <a:pt x="298" y="170"/>
                      <a:pt x="298" y="170"/>
                      <a:pt x="298" y="170"/>
                    </a:cubicBezTo>
                    <a:cubicBezTo>
                      <a:pt x="296" y="189"/>
                      <a:pt x="291" y="207"/>
                      <a:pt x="283" y="224"/>
                    </a:cubicBezTo>
                    <a:close/>
                    <a:moveTo>
                      <a:pt x="160" y="298"/>
                    </a:moveTo>
                    <a:cubicBezTo>
                      <a:pt x="149" y="298"/>
                      <a:pt x="136" y="279"/>
                      <a:pt x="127" y="245"/>
                    </a:cubicBezTo>
                    <a:cubicBezTo>
                      <a:pt x="192" y="245"/>
                      <a:pt x="192" y="245"/>
                      <a:pt x="192" y="245"/>
                    </a:cubicBezTo>
                    <a:cubicBezTo>
                      <a:pt x="183" y="279"/>
                      <a:pt x="170" y="298"/>
                      <a:pt x="160" y="298"/>
                    </a:cubicBezTo>
                    <a:close/>
                    <a:moveTo>
                      <a:pt x="122" y="224"/>
                    </a:moveTo>
                    <a:cubicBezTo>
                      <a:pt x="120" y="208"/>
                      <a:pt x="118" y="190"/>
                      <a:pt x="117" y="170"/>
                    </a:cubicBezTo>
                    <a:cubicBezTo>
                      <a:pt x="202" y="170"/>
                      <a:pt x="202" y="170"/>
                      <a:pt x="202" y="170"/>
                    </a:cubicBezTo>
                    <a:cubicBezTo>
                      <a:pt x="202" y="190"/>
                      <a:pt x="200" y="208"/>
                      <a:pt x="197" y="224"/>
                    </a:cubicBezTo>
                    <a:lnTo>
                      <a:pt x="122" y="224"/>
                    </a:lnTo>
                    <a:close/>
                    <a:moveTo>
                      <a:pt x="22" y="170"/>
                    </a:moveTo>
                    <a:cubicBezTo>
                      <a:pt x="96" y="170"/>
                      <a:pt x="96" y="170"/>
                      <a:pt x="96" y="170"/>
                    </a:cubicBezTo>
                    <a:cubicBezTo>
                      <a:pt x="96" y="188"/>
                      <a:pt x="98" y="207"/>
                      <a:pt x="101" y="224"/>
                    </a:cubicBezTo>
                    <a:cubicBezTo>
                      <a:pt x="37" y="224"/>
                      <a:pt x="37" y="224"/>
                      <a:pt x="37" y="224"/>
                    </a:cubicBezTo>
                    <a:cubicBezTo>
                      <a:pt x="28" y="207"/>
                      <a:pt x="23" y="189"/>
                      <a:pt x="22" y="170"/>
                    </a:cubicBezTo>
                    <a:close/>
                    <a:moveTo>
                      <a:pt x="37" y="96"/>
                    </a:moveTo>
                    <a:cubicBezTo>
                      <a:pt x="101" y="96"/>
                      <a:pt x="101" y="96"/>
                      <a:pt x="101" y="96"/>
                    </a:cubicBezTo>
                    <a:cubicBezTo>
                      <a:pt x="98" y="113"/>
                      <a:pt x="96" y="131"/>
                      <a:pt x="96" y="149"/>
                    </a:cubicBezTo>
                    <a:cubicBezTo>
                      <a:pt x="22" y="149"/>
                      <a:pt x="22" y="149"/>
                      <a:pt x="22" y="149"/>
                    </a:cubicBezTo>
                    <a:cubicBezTo>
                      <a:pt x="23" y="130"/>
                      <a:pt x="28" y="112"/>
                      <a:pt x="37" y="96"/>
                    </a:cubicBezTo>
                    <a:close/>
                    <a:moveTo>
                      <a:pt x="160" y="21"/>
                    </a:moveTo>
                    <a:cubicBezTo>
                      <a:pt x="170" y="21"/>
                      <a:pt x="183" y="41"/>
                      <a:pt x="192" y="74"/>
                    </a:cubicBezTo>
                    <a:cubicBezTo>
                      <a:pt x="127" y="74"/>
                      <a:pt x="127" y="74"/>
                      <a:pt x="127" y="74"/>
                    </a:cubicBezTo>
                    <a:cubicBezTo>
                      <a:pt x="136" y="41"/>
                      <a:pt x="149" y="21"/>
                      <a:pt x="160" y="21"/>
                    </a:cubicBezTo>
                    <a:close/>
                    <a:moveTo>
                      <a:pt x="197" y="96"/>
                    </a:moveTo>
                    <a:cubicBezTo>
                      <a:pt x="200" y="111"/>
                      <a:pt x="202" y="129"/>
                      <a:pt x="202" y="149"/>
                    </a:cubicBezTo>
                    <a:cubicBezTo>
                      <a:pt x="117" y="149"/>
                      <a:pt x="117" y="149"/>
                      <a:pt x="117" y="149"/>
                    </a:cubicBezTo>
                    <a:cubicBezTo>
                      <a:pt x="118" y="129"/>
                      <a:pt x="120" y="111"/>
                      <a:pt x="122" y="96"/>
                    </a:cubicBezTo>
                    <a:lnTo>
                      <a:pt x="197" y="96"/>
                    </a:lnTo>
                    <a:close/>
                    <a:moveTo>
                      <a:pt x="223" y="149"/>
                    </a:moveTo>
                    <a:cubicBezTo>
                      <a:pt x="223" y="131"/>
                      <a:pt x="221" y="113"/>
                      <a:pt x="218" y="96"/>
                    </a:cubicBezTo>
                    <a:cubicBezTo>
                      <a:pt x="283" y="96"/>
                      <a:pt x="283" y="96"/>
                      <a:pt x="283" y="96"/>
                    </a:cubicBezTo>
                    <a:cubicBezTo>
                      <a:pt x="291" y="112"/>
                      <a:pt x="296" y="130"/>
                      <a:pt x="298" y="149"/>
                    </a:cubicBezTo>
                    <a:lnTo>
                      <a:pt x="223" y="149"/>
                    </a:lnTo>
                    <a:close/>
                    <a:moveTo>
                      <a:pt x="269" y="74"/>
                    </a:moveTo>
                    <a:cubicBezTo>
                      <a:pt x="214" y="74"/>
                      <a:pt x="214" y="74"/>
                      <a:pt x="214" y="74"/>
                    </a:cubicBezTo>
                    <a:cubicBezTo>
                      <a:pt x="210" y="55"/>
                      <a:pt x="203" y="39"/>
                      <a:pt x="196" y="26"/>
                    </a:cubicBezTo>
                    <a:cubicBezTo>
                      <a:pt x="225" y="34"/>
                      <a:pt x="251" y="51"/>
                      <a:pt x="269" y="74"/>
                    </a:cubicBezTo>
                    <a:close/>
                    <a:moveTo>
                      <a:pt x="124" y="26"/>
                    </a:moveTo>
                    <a:cubicBezTo>
                      <a:pt x="116" y="39"/>
                      <a:pt x="110" y="55"/>
                      <a:pt x="105" y="74"/>
                    </a:cubicBezTo>
                    <a:cubicBezTo>
                      <a:pt x="51" y="74"/>
                      <a:pt x="51" y="74"/>
                      <a:pt x="51" y="74"/>
                    </a:cubicBezTo>
                    <a:cubicBezTo>
                      <a:pt x="69" y="51"/>
                      <a:pt x="94" y="34"/>
                      <a:pt x="124" y="26"/>
                    </a:cubicBezTo>
                    <a:close/>
                    <a:moveTo>
                      <a:pt x="51" y="245"/>
                    </a:moveTo>
                    <a:cubicBezTo>
                      <a:pt x="105" y="245"/>
                      <a:pt x="105" y="245"/>
                      <a:pt x="105" y="245"/>
                    </a:cubicBezTo>
                    <a:cubicBezTo>
                      <a:pt x="110" y="264"/>
                      <a:pt x="116" y="281"/>
                      <a:pt x="124" y="293"/>
                    </a:cubicBezTo>
                    <a:cubicBezTo>
                      <a:pt x="94" y="285"/>
                      <a:pt x="69" y="268"/>
                      <a:pt x="51" y="245"/>
                    </a:cubicBezTo>
                    <a:close/>
                    <a:moveTo>
                      <a:pt x="196" y="293"/>
                    </a:moveTo>
                    <a:cubicBezTo>
                      <a:pt x="203" y="281"/>
                      <a:pt x="210" y="264"/>
                      <a:pt x="214" y="245"/>
                    </a:cubicBezTo>
                    <a:cubicBezTo>
                      <a:pt x="269" y="245"/>
                      <a:pt x="269" y="245"/>
                      <a:pt x="269" y="245"/>
                    </a:cubicBezTo>
                    <a:cubicBezTo>
                      <a:pt x="251" y="268"/>
                      <a:pt x="225" y="285"/>
                      <a:pt x="196" y="29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" name="Freeform 55">
                <a:extLst>
                  <a:ext uri="{FF2B5EF4-FFF2-40B4-BE49-F238E27FC236}">
                    <a16:creationId xmlns:a16="http://schemas.microsoft.com/office/drawing/2014/main" id="{C6023F7A-281F-C844-BA27-C60AACC50B4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83" y="1046"/>
                <a:ext cx="340" cy="341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A6030B49-ABBA-714D-8A34-EC40E7E014FC}"/>
                </a:ext>
              </a:extLst>
            </p:cNvPr>
            <p:cNvGrpSpPr/>
            <p:nvPr/>
          </p:nvGrpSpPr>
          <p:grpSpPr>
            <a:xfrm>
              <a:off x="11116624" y="173688"/>
              <a:ext cx="365760" cy="365760"/>
              <a:chOff x="6806797" y="2076826"/>
              <a:chExt cx="685804" cy="685804"/>
            </a:xfrm>
            <a:solidFill>
              <a:schemeClr val="bg1">
                <a:lumMod val="75000"/>
              </a:schemeClr>
            </a:solidFill>
          </p:grpSpPr>
          <p:sp>
            <p:nvSpPr>
              <p:cNvPr id="15" name="Freeform 623">
                <a:extLst>
                  <a:ext uri="{FF2B5EF4-FFF2-40B4-BE49-F238E27FC236}">
                    <a16:creationId xmlns:a16="http://schemas.microsoft.com/office/drawing/2014/main" id="{A4FD5118-54E1-AB45-A285-8EC74B0C2A0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06797" y="2076826"/>
                <a:ext cx="685804" cy="685804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pic>
            <p:nvPicPr>
              <p:cNvPr id="16" name="Graphic 15" descr="Target">
                <a:extLst>
                  <a:ext uri="{FF2B5EF4-FFF2-40B4-BE49-F238E27FC236}">
                    <a16:creationId xmlns:a16="http://schemas.microsoft.com/office/drawing/2014/main" id="{F49CF584-F4A5-1646-8AF3-B500F507B81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6852519" y="2122548"/>
                <a:ext cx="594360" cy="594360"/>
              </a:xfrm>
              <a:prstGeom prst="rect">
                <a:avLst/>
              </a:prstGeom>
            </p:spPr>
          </p:pic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7F71AAC5-B834-D242-BB6F-8A482CE61E94}"/>
                </a:ext>
              </a:extLst>
            </p:cNvPr>
            <p:cNvGrpSpPr/>
            <p:nvPr/>
          </p:nvGrpSpPr>
          <p:grpSpPr>
            <a:xfrm>
              <a:off x="11538918" y="173688"/>
              <a:ext cx="365760" cy="365760"/>
              <a:chOff x="6806753" y="3091011"/>
              <a:chExt cx="685800" cy="685800"/>
            </a:xfrm>
            <a:solidFill>
              <a:schemeClr val="bg1">
                <a:lumMod val="75000"/>
              </a:schemeClr>
            </a:solidFill>
          </p:grpSpPr>
          <p:sp>
            <p:nvSpPr>
              <p:cNvPr id="13" name="Freeform 727">
                <a:extLst>
                  <a:ext uri="{FF2B5EF4-FFF2-40B4-BE49-F238E27FC236}">
                    <a16:creationId xmlns:a16="http://schemas.microsoft.com/office/drawing/2014/main" id="{EB066332-9C45-C14B-878C-C484243F361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06753" y="3091011"/>
                <a:ext cx="685800" cy="685800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pic>
            <p:nvPicPr>
              <p:cNvPr id="14" name="Graphic 13" descr="Head with gears">
                <a:extLst>
                  <a:ext uri="{FF2B5EF4-FFF2-40B4-BE49-F238E27FC236}">
                    <a16:creationId xmlns:a16="http://schemas.microsoft.com/office/drawing/2014/main" id="{4B6CB2A0-BC97-DA40-A5FE-F028EA0A512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6932592" y="3216850"/>
                <a:ext cx="434123" cy="434123"/>
              </a:xfrm>
              <a:prstGeom prst="rect">
                <a:avLst/>
              </a:prstGeom>
            </p:spPr>
          </p:pic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BF1345B2-7AD3-6A47-B893-68DE43D819F9}"/>
                </a:ext>
              </a:extLst>
            </p:cNvPr>
            <p:cNvGrpSpPr/>
            <p:nvPr/>
          </p:nvGrpSpPr>
          <p:grpSpPr>
            <a:xfrm>
              <a:off x="10694331" y="173688"/>
              <a:ext cx="365760" cy="365760"/>
              <a:chOff x="6806753" y="2142199"/>
              <a:chExt cx="685804" cy="685804"/>
            </a:xfrm>
          </p:grpSpPr>
          <p:sp>
            <p:nvSpPr>
              <p:cNvPr id="11" name="Freeform 623">
                <a:extLst>
                  <a:ext uri="{FF2B5EF4-FFF2-40B4-BE49-F238E27FC236}">
                    <a16:creationId xmlns:a16="http://schemas.microsoft.com/office/drawing/2014/main" id="{15FD7F61-1750-854A-9E62-FE580DC1D5E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06753" y="2142199"/>
                <a:ext cx="685804" cy="685804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solidFill>
                <a:srgbClr val="36B9E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pic>
            <p:nvPicPr>
              <p:cNvPr id="12" name="Graphic 11" descr="Badge Tick outline">
                <a:extLst>
                  <a:ext uri="{FF2B5EF4-FFF2-40B4-BE49-F238E27FC236}">
                    <a16:creationId xmlns:a16="http://schemas.microsoft.com/office/drawing/2014/main" id="{32933E97-681E-AD44-99AA-4FDAFC6D4F0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6834429" y="2170883"/>
                <a:ext cx="628436" cy="628436"/>
              </a:xfrm>
              <a:prstGeom prst="rect">
                <a:avLst/>
              </a:prstGeom>
            </p:spPr>
          </p:pic>
        </p:grpSp>
      </p:grpSp>
      <p:sp>
        <p:nvSpPr>
          <p:cNvPr id="23" name="Content Placeholder 1">
            <a:extLst>
              <a:ext uri="{FF2B5EF4-FFF2-40B4-BE49-F238E27FC236}">
                <a16:creationId xmlns:a16="http://schemas.microsoft.com/office/drawing/2014/main" id="{BEE15851-939A-1A44-A774-AF03855559D8}"/>
              </a:ext>
            </a:extLst>
          </p:cNvPr>
          <p:cNvSpPr txBox="1">
            <a:spLocks/>
          </p:cNvSpPr>
          <p:nvPr/>
        </p:nvSpPr>
        <p:spPr>
          <a:xfrm>
            <a:off x="464998" y="1676400"/>
            <a:ext cx="2397946" cy="4705351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 spc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spc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spc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spc="0" baseline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spc="0" baseline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he radar chart is dependent on Q-</a:t>
            </a:r>
            <a:r>
              <a:rPr lang="en-US" dirty="0" err="1"/>
              <a:t>Pillar_Group</a:t>
            </a:r>
            <a:r>
              <a:rPr lang="en-US" dirty="0"/>
              <a:t> to only display data from selected questions. (Not all survey questions contribute to a Pillar score.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Custom </a:t>
            </a:r>
            <a:r>
              <a:rPr lang="en-US" dirty="0" err="1"/>
              <a:t>Radar_X</a:t>
            </a:r>
            <a:r>
              <a:rPr lang="en-US" dirty="0"/>
              <a:t> and </a:t>
            </a:r>
            <a:r>
              <a:rPr lang="en-US" dirty="0" err="1"/>
              <a:t>Radar_Y</a:t>
            </a:r>
            <a:r>
              <a:rPr lang="en-US" dirty="0"/>
              <a:t> calculations were used to set points and draw the chart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he circular axis is a custom mapped image. </a:t>
            </a:r>
            <a:r>
              <a:rPr lang="en-US" dirty="0"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ee tutorial for adding a background image.</a:t>
            </a: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eference this Tableau tutorial to create a radar chart.</a:t>
            </a: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BF9A7E20-C5DD-2A4A-9E70-AA50A0E9B7BA}"/>
              </a:ext>
            </a:extLst>
          </p:cNvPr>
          <p:cNvSpPr txBox="1">
            <a:spLocks/>
          </p:cNvSpPr>
          <p:nvPr/>
        </p:nvSpPr>
        <p:spPr>
          <a:xfrm>
            <a:off x="469900" y="1127760"/>
            <a:ext cx="2393043" cy="548640"/>
          </a:xfrm>
          <a:prstGeom prst="rect">
            <a:avLst/>
          </a:prstGeom>
          <a:solidFill>
            <a:srgbClr val="7ACAEE"/>
          </a:solidFill>
        </p:spPr>
        <p:txBody>
          <a:bodyPr anchor="ctr"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 spc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spc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spc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spc="0" baseline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spc="0" baseline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/>
              <a:t>Calculation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E54C6639-15DA-964F-9C4E-0FE7DF983E53}"/>
              </a:ext>
            </a:extLst>
          </p:cNvPr>
          <p:cNvSpPr txBox="1"/>
          <p:nvPr/>
        </p:nvSpPr>
        <p:spPr>
          <a:xfrm>
            <a:off x="3011533" y="4841678"/>
            <a:ext cx="2989181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1000" b="1" dirty="0">
                <a:solidFill>
                  <a:srgbClr val="C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heck the Q-</a:t>
            </a:r>
            <a:r>
              <a:rPr lang="en-US" sz="1000" b="1" dirty="0" err="1">
                <a:solidFill>
                  <a:srgbClr val="C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illar_Group</a:t>
            </a:r>
            <a:r>
              <a:rPr lang="en-US" sz="1000" b="1" dirty="0">
                <a:solidFill>
                  <a:srgbClr val="C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to make sure that the right Q_IDs are associated with each Pillar.</a:t>
            </a:r>
          </a:p>
        </p:txBody>
      </p:sp>
      <p:pic>
        <p:nvPicPr>
          <p:cNvPr id="4" name="Picture 3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FC8FAE53-7ED0-3041-9EB2-64E351AA96B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11533" y="1127760"/>
            <a:ext cx="3371311" cy="3655211"/>
          </a:xfrm>
          <a:prstGeom prst="rect">
            <a:avLst/>
          </a:prstGeom>
          <a:ln>
            <a:solidFill>
              <a:srgbClr val="C00000"/>
            </a:solidFill>
          </a:ln>
        </p:spPr>
      </p:pic>
      <p:pic>
        <p:nvPicPr>
          <p:cNvPr id="22" name="Picture 21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B9CB7318-C4A8-D443-A08F-B8C01B674BA9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78462" y="1127760"/>
            <a:ext cx="3965792" cy="1705073"/>
          </a:xfrm>
          <a:prstGeom prst="rect">
            <a:avLst/>
          </a:prstGeom>
          <a:ln>
            <a:solidFill>
              <a:schemeClr val="bg2"/>
            </a:solidFill>
          </a:ln>
        </p:spPr>
      </p:pic>
      <p:pic>
        <p:nvPicPr>
          <p:cNvPr id="28" name="Picture 27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AAD4F2C6-1A58-C048-AEFC-3F5B6DD6F08D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79921" y="2940814"/>
            <a:ext cx="3980169" cy="1711254"/>
          </a:xfrm>
          <a:prstGeom prst="rect">
            <a:avLst/>
          </a:prstGeom>
          <a:ln>
            <a:solidFill>
              <a:schemeClr val="bg2"/>
            </a:solidFill>
          </a:ln>
        </p:spPr>
      </p:pic>
      <p:pic>
        <p:nvPicPr>
          <p:cNvPr id="30" name="Picture 29" descr="Text&#10;&#10;Description automatically generated">
            <a:extLst>
              <a:ext uri="{FF2B5EF4-FFF2-40B4-BE49-F238E27FC236}">
                <a16:creationId xmlns:a16="http://schemas.microsoft.com/office/drawing/2014/main" id="{909CE91C-935B-304D-86EF-8A96CEB38963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78132" y="4753868"/>
            <a:ext cx="3981957" cy="1711255"/>
          </a:xfrm>
          <a:prstGeom prst="rect">
            <a:avLst/>
          </a:prstGeom>
          <a:ln>
            <a:solidFill>
              <a:schemeClr val="bg2"/>
            </a:solidFill>
          </a:ln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id="{C32279BB-A732-8C4D-BDCE-563161B1AA59}"/>
              </a:ext>
            </a:extLst>
          </p:cNvPr>
          <p:cNvSpPr txBox="1"/>
          <p:nvPr/>
        </p:nvSpPr>
        <p:spPr>
          <a:xfrm>
            <a:off x="7078132" y="6489978"/>
            <a:ext cx="419946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1000" dirty="0">
                <a:solidFill>
                  <a:srgbClr val="31313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hese calculations should remain the same to render the radar chart.</a:t>
            </a:r>
          </a:p>
        </p:txBody>
      </p:sp>
    </p:spTree>
    <p:extLst>
      <p:ext uri="{BB962C8B-B14F-4D97-AF65-F5344CB8AC3E}">
        <p14:creationId xmlns:p14="http://schemas.microsoft.com/office/powerpoint/2010/main" val="2529212443"/>
      </p:ext>
    </p:extLst>
  </p:cSld>
  <p:clrMapOvr>
    <a:masterClrMapping/>
  </p:clrMapOvr>
  <p:transition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B4E22C-4213-4394-875A-37648E1EE1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endix</a:t>
            </a:r>
          </a:p>
        </p:txBody>
      </p:sp>
    </p:spTree>
    <p:extLst>
      <p:ext uri="{BB962C8B-B14F-4D97-AF65-F5344CB8AC3E}">
        <p14:creationId xmlns:p14="http://schemas.microsoft.com/office/powerpoint/2010/main" val="199938942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5DAED6B1-6292-6247-980F-02C1909970F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9900" y="736689"/>
            <a:ext cx="11252200" cy="283090"/>
          </a:xfrm>
        </p:spPr>
        <p:txBody>
          <a:bodyPr/>
          <a:lstStyle/>
          <a:p>
            <a:r>
              <a:rPr lang="en-US" sz="1200" dirty="0"/>
              <a:t>Print settings in Tableau for physical printers or to save to PDF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3EC109-DCC4-D84A-96DD-9E1DD06C1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3563"/>
          </a:xfrm>
        </p:spPr>
        <p:txBody>
          <a:bodyPr/>
          <a:lstStyle/>
          <a:p>
            <a:r>
              <a:rPr lang="en-US" b="1" spc="0" dirty="0"/>
              <a:t>Export Report | </a:t>
            </a:r>
            <a:r>
              <a:rPr lang="en-US" spc="0" dirty="0"/>
              <a:t>Print Settings</a:t>
            </a:r>
            <a:endParaRPr lang="en-US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E6DFAAE-C9C6-9D46-B795-9BC79C578A16}"/>
              </a:ext>
            </a:extLst>
          </p:cNvPr>
          <p:cNvGrpSpPr/>
          <p:nvPr/>
        </p:nvGrpSpPr>
        <p:grpSpPr>
          <a:xfrm>
            <a:off x="10272038" y="173150"/>
            <a:ext cx="1632640" cy="366837"/>
            <a:chOff x="10272038" y="173150"/>
            <a:chExt cx="1632640" cy="366837"/>
          </a:xfrm>
        </p:grpSpPr>
        <p:grpSp>
          <p:nvGrpSpPr>
            <p:cNvPr id="7" name="Group 53">
              <a:extLst>
                <a:ext uri="{FF2B5EF4-FFF2-40B4-BE49-F238E27FC236}">
                  <a16:creationId xmlns:a16="http://schemas.microsoft.com/office/drawing/2014/main" id="{6C2C28C1-636A-1340-B840-A66A9F1DF6AB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0272038" y="173150"/>
              <a:ext cx="365760" cy="366837"/>
              <a:chOff x="5183" y="1046"/>
              <a:chExt cx="340" cy="341"/>
            </a:xfrm>
            <a:solidFill>
              <a:schemeClr val="bg1">
                <a:lumMod val="75000"/>
              </a:schemeClr>
            </a:solidFill>
          </p:grpSpPr>
          <p:sp>
            <p:nvSpPr>
              <p:cNvPr id="17" name="Freeform 54">
                <a:extLst>
                  <a:ext uri="{FF2B5EF4-FFF2-40B4-BE49-F238E27FC236}">
                    <a16:creationId xmlns:a16="http://schemas.microsoft.com/office/drawing/2014/main" id="{B3E3306A-20E7-4246-B14C-099787069D1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47" y="1110"/>
                <a:ext cx="212" cy="213"/>
              </a:xfrm>
              <a:custGeom>
                <a:avLst/>
                <a:gdLst>
                  <a:gd name="T0" fmla="*/ 160 w 320"/>
                  <a:gd name="T1" fmla="*/ 0 h 320"/>
                  <a:gd name="T2" fmla="*/ 0 w 320"/>
                  <a:gd name="T3" fmla="*/ 160 h 320"/>
                  <a:gd name="T4" fmla="*/ 160 w 320"/>
                  <a:gd name="T5" fmla="*/ 320 h 320"/>
                  <a:gd name="T6" fmla="*/ 320 w 320"/>
                  <a:gd name="T7" fmla="*/ 160 h 320"/>
                  <a:gd name="T8" fmla="*/ 160 w 320"/>
                  <a:gd name="T9" fmla="*/ 0 h 320"/>
                  <a:gd name="T10" fmla="*/ 283 w 320"/>
                  <a:gd name="T11" fmla="*/ 224 h 320"/>
                  <a:gd name="T12" fmla="*/ 218 w 320"/>
                  <a:gd name="T13" fmla="*/ 224 h 320"/>
                  <a:gd name="T14" fmla="*/ 223 w 320"/>
                  <a:gd name="T15" fmla="*/ 170 h 320"/>
                  <a:gd name="T16" fmla="*/ 298 w 320"/>
                  <a:gd name="T17" fmla="*/ 170 h 320"/>
                  <a:gd name="T18" fmla="*/ 283 w 320"/>
                  <a:gd name="T19" fmla="*/ 224 h 320"/>
                  <a:gd name="T20" fmla="*/ 160 w 320"/>
                  <a:gd name="T21" fmla="*/ 298 h 320"/>
                  <a:gd name="T22" fmla="*/ 127 w 320"/>
                  <a:gd name="T23" fmla="*/ 245 h 320"/>
                  <a:gd name="T24" fmla="*/ 192 w 320"/>
                  <a:gd name="T25" fmla="*/ 245 h 320"/>
                  <a:gd name="T26" fmla="*/ 160 w 320"/>
                  <a:gd name="T27" fmla="*/ 298 h 320"/>
                  <a:gd name="T28" fmla="*/ 122 w 320"/>
                  <a:gd name="T29" fmla="*/ 224 h 320"/>
                  <a:gd name="T30" fmla="*/ 117 w 320"/>
                  <a:gd name="T31" fmla="*/ 170 h 320"/>
                  <a:gd name="T32" fmla="*/ 202 w 320"/>
                  <a:gd name="T33" fmla="*/ 170 h 320"/>
                  <a:gd name="T34" fmla="*/ 197 w 320"/>
                  <a:gd name="T35" fmla="*/ 224 h 320"/>
                  <a:gd name="T36" fmla="*/ 122 w 320"/>
                  <a:gd name="T37" fmla="*/ 224 h 320"/>
                  <a:gd name="T38" fmla="*/ 22 w 320"/>
                  <a:gd name="T39" fmla="*/ 170 h 320"/>
                  <a:gd name="T40" fmla="*/ 96 w 320"/>
                  <a:gd name="T41" fmla="*/ 170 h 320"/>
                  <a:gd name="T42" fmla="*/ 101 w 320"/>
                  <a:gd name="T43" fmla="*/ 224 h 320"/>
                  <a:gd name="T44" fmla="*/ 37 w 320"/>
                  <a:gd name="T45" fmla="*/ 224 h 320"/>
                  <a:gd name="T46" fmla="*/ 22 w 320"/>
                  <a:gd name="T47" fmla="*/ 170 h 320"/>
                  <a:gd name="T48" fmla="*/ 37 w 320"/>
                  <a:gd name="T49" fmla="*/ 96 h 320"/>
                  <a:gd name="T50" fmla="*/ 101 w 320"/>
                  <a:gd name="T51" fmla="*/ 96 h 320"/>
                  <a:gd name="T52" fmla="*/ 96 w 320"/>
                  <a:gd name="T53" fmla="*/ 149 h 320"/>
                  <a:gd name="T54" fmla="*/ 22 w 320"/>
                  <a:gd name="T55" fmla="*/ 149 h 320"/>
                  <a:gd name="T56" fmla="*/ 37 w 320"/>
                  <a:gd name="T57" fmla="*/ 96 h 320"/>
                  <a:gd name="T58" fmla="*/ 160 w 320"/>
                  <a:gd name="T59" fmla="*/ 21 h 320"/>
                  <a:gd name="T60" fmla="*/ 192 w 320"/>
                  <a:gd name="T61" fmla="*/ 74 h 320"/>
                  <a:gd name="T62" fmla="*/ 127 w 320"/>
                  <a:gd name="T63" fmla="*/ 74 h 320"/>
                  <a:gd name="T64" fmla="*/ 160 w 320"/>
                  <a:gd name="T65" fmla="*/ 21 h 320"/>
                  <a:gd name="T66" fmla="*/ 197 w 320"/>
                  <a:gd name="T67" fmla="*/ 96 h 320"/>
                  <a:gd name="T68" fmla="*/ 202 w 320"/>
                  <a:gd name="T69" fmla="*/ 149 h 320"/>
                  <a:gd name="T70" fmla="*/ 117 w 320"/>
                  <a:gd name="T71" fmla="*/ 149 h 320"/>
                  <a:gd name="T72" fmla="*/ 122 w 320"/>
                  <a:gd name="T73" fmla="*/ 96 h 320"/>
                  <a:gd name="T74" fmla="*/ 197 w 320"/>
                  <a:gd name="T75" fmla="*/ 96 h 320"/>
                  <a:gd name="T76" fmla="*/ 223 w 320"/>
                  <a:gd name="T77" fmla="*/ 149 h 320"/>
                  <a:gd name="T78" fmla="*/ 218 w 320"/>
                  <a:gd name="T79" fmla="*/ 96 h 320"/>
                  <a:gd name="T80" fmla="*/ 283 w 320"/>
                  <a:gd name="T81" fmla="*/ 96 h 320"/>
                  <a:gd name="T82" fmla="*/ 298 w 320"/>
                  <a:gd name="T83" fmla="*/ 149 h 320"/>
                  <a:gd name="T84" fmla="*/ 223 w 320"/>
                  <a:gd name="T85" fmla="*/ 149 h 320"/>
                  <a:gd name="T86" fmla="*/ 269 w 320"/>
                  <a:gd name="T87" fmla="*/ 74 h 320"/>
                  <a:gd name="T88" fmla="*/ 214 w 320"/>
                  <a:gd name="T89" fmla="*/ 74 h 320"/>
                  <a:gd name="T90" fmla="*/ 196 w 320"/>
                  <a:gd name="T91" fmla="*/ 26 h 320"/>
                  <a:gd name="T92" fmla="*/ 269 w 320"/>
                  <a:gd name="T93" fmla="*/ 74 h 320"/>
                  <a:gd name="T94" fmla="*/ 124 w 320"/>
                  <a:gd name="T95" fmla="*/ 26 h 320"/>
                  <a:gd name="T96" fmla="*/ 105 w 320"/>
                  <a:gd name="T97" fmla="*/ 74 h 320"/>
                  <a:gd name="T98" fmla="*/ 51 w 320"/>
                  <a:gd name="T99" fmla="*/ 74 h 320"/>
                  <a:gd name="T100" fmla="*/ 124 w 320"/>
                  <a:gd name="T101" fmla="*/ 26 h 320"/>
                  <a:gd name="T102" fmla="*/ 51 w 320"/>
                  <a:gd name="T103" fmla="*/ 245 h 320"/>
                  <a:gd name="T104" fmla="*/ 105 w 320"/>
                  <a:gd name="T105" fmla="*/ 245 h 320"/>
                  <a:gd name="T106" fmla="*/ 124 w 320"/>
                  <a:gd name="T107" fmla="*/ 293 h 320"/>
                  <a:gd name="T108" fmla="*/ 51 w 320"/>
                  <a:gd name="T109" fmla="*/ 245 h 320"/>
                  <a:gd name="T110" fmla="*/ 196 w 320"/>
                  <a:gd name="T111" fmla="*/ 293 h 320"/>
                  <a:gd name="T112" fmla="*/ 214 w 320"/>
                  <a:gd name="T113" fmla="*/ 245 h 320"/>
                  <a:gd name="T114" fmla="*/ 269 w 320"/>
                  <a:gd name="T115" fmla="*/ 245 h 320"/>
                  <a:gd name="T116" fmla="*/ 196 w 320"/>
                  <a:gd name="T117" fmla="*/ 293 h 3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320" h="320">
                    <a:moveTo>
                      <a:pt x="160" y="0"/>
                    </a:moveTo>
                    <a:cubicBezTo>
                      <a:pt x="71" y="0"/>
                      <a:pt x="0" y="71"/>
                      <a:pt x="0" y="160"/>
                    </a:cubicBezTo>
                    <a:cubicBezTo>
                      <a:pt x="0" y="248"/>
                      <a:pt x="71" y="320"/>
                      <a:pt x="160" y="320"/>
                    </a:cubicBezTo>
                    <a:cubicBezTo>
                      <a:pt x="248" y="320"/>
                      <a:pt x="320" y="248"/>
                      <a:pt x="320" y="160"/>
                    </a:cubicBezTo>
                    <a:cubicBezTo>
                      <a:pt x="320" y="71"/>
                      <a:pt x="248" y="0"/>
                      <a:pt x="160" y="0"/>
                    </a:cubicBezTo>
                    <a:close/>
                    <a:moveTo>
                      <a:pt x="283" y="224"/>
                    </a:moveTo>
                    <a:cubicBezTo>
                      <a:pt x="218" y="224"/>
                      <a:pt x="218" y="224"/>
                      <a:pt x="218" y="224"/>
                    </a:cubicBezTo>
                    <a:cubicBezTo>
                      <a:pt x="221" y="207"/>
                      <a:pt x="223" y="188"/>
                      <a:pt x="223" y="170"/>
                    </a:cubicBezTo>
                    <a:cubicBezTo>
                      <a:pt x="298" y="170"/>
                      <a:pt x="298" y="170"/>
                      <a:pt x="298" y="170"/>
                    </a:cubicBezTo>
                    <a:cubicBezTo>
                      <a:pt x="296" y="189"/>
                      <a:pt x="291" y="207"/>
                      <a:pt x="283" y="224"/>
                    </a:cubicBezTo>
                    <a:close/>
                    <a:moveTo>
                      <a:pt x="160" y="298"/>
                    </a:moveTo>
                    <a:cubicBezTo>
                      <a:pt x="149" y="298"/>
                      <a:pt x="136" y="279"/>
                      <a:pt x="127" y="245"/>
                    </a:cubicBezTo>
                    <a:cubicBezTo>
                      <a:pt x="192" y="245"/>
                      <a:pt x="192" y="245"/>
                      <a:pt x="192" y="245"/>
                    </a:cubicBezTo>
                    <a:cubicBezTo>
                      <a:pt x="183" y="279"/>
                      <a:pt x="170" y="298"/>
                      <a:pt x="160" y="298"/>
                    </a:cubicBezTo>
                    <a:close/>
                    <a:moveTo>
                      <a:pt x="122" y="224"/>
                    </a:moveTo>
                    <a:cubicBezTo>
                      <a:pt x="120" y="208"/>
                      <a:pt x="118" y="190"/>
                      <a:pt x="117" y="170"/>
                    </a:cubicBezTo>
                    <a:cubicBezTo>
                      <a:pt x="202" y="170"/>
                      <a:pt x="202" y="170"/>
                      <a:pt x="202" y="170"/>
                    </a:cubicBezTo>
                    <a:cubicBezTo>
                      <a:pt x="202" y="190"/>
                      <a:pt x="200" y="208"/>
                      <a:pt x="197" y="224"/>
                    </a:cubicBezTo>
                    <a:lnTo>
                      <a:pt x="122" y="224"/>
                    </a:lnTo>
                    <a:close/>
                    <a:moveTo>
                      <a:pt x="22" y="170"/>
                    </a:moveTo>
                    <a:cubicBezTo>
                      <a:pt x="96" y="170"/>
                      <a:pt x="96" y="170"/>
                      <a:pt x="96" y="170"/>
                    </a:cubicBezTo>
                    <a:cubicBezTo>
                      <a:pt x="96" y="188"/>
                      <a:pt x="98" y="207"/>
                      <a:pt x="101" y="224"/>
                    </a:cubicBezTo>
                    <a:cubicBezTo>
                      <a:pt x="37" y="224"/>
                      <a:pt x="37" y="224"/>
                      <a:pt x="37" y="224"/>
                    </a:cubicBezTo>
                    <a:cubicBezTo>
                      <a:pt x="28" y="207"/>
                      <a:pt x="23" y="189"/>
                      <a:pt x="22" y="170"/>
                    </a:cubicBezTo>
                    <a:close/>
                    <a:moveTo>
                      <a:pt x="37" y="96"/>
                    </a:moveTo>
                    <a:cubicBezTo>
                      <a:pt x="101" y="96"/>
                      <a:pt x="101" y="96"/>
                      <a:pt x="101" y="96"/>
                    </a:cubicBezTo>
                    <a:cubicBezTo>
                      <a:pt x="98" y="113"/>
                      <a:pt x="96" y="131"/>
                      <a:pt x="96" y="149"/>
                    </a:cubicBezTo>
                    <a:cubicBezTo>
                      <a:pt x="22" y="149"/>
                      <a:pt x="22" y="149"/>
                      <a:pt x="22" y="149"/>
                    </a:cubicBezTo>
                    <a:cubicBezTo>
                      <a:pt x="23" y="130"/>
                      <a:pt x="28" y="112"/>
                      <a:pt x="37" y="96"/>
                    </a:cubicBezTo>
                    <a:close/>
                    <a:moveTo>
                      <a:pt x="160" y="21"/>
                    </a:moveTo>
                    <a:cubicBezTo>
                      <a:pt x="170" y="21"/>
                      <a:pt x="183" y="41"/>
                      <a:pt x="192" y="74"/>
                    </a:cubicBezTo>
                    <a:cubicBezTo>
                      <a:pt x="127" y="74"/>
                      <a:pt x="127" y="74"/>
                      <a:pt x="127" y="74"/>
                    </a:cubicBezTo>
                    <a:cubicBezTo>
                      <a:pt x="136" y="41"/>
                      <a:pt x="149" y="21"/>
                      <a:pt x="160" y="21"/>
                    </a:cubicBezTo>
                    <a:close/>
                    <a:moveTo>
                      <a:pt x="197" y="96"/>
                    </a:moveTo>
                    <a:cubicBezTo>
                      <a:pt x="200" y="111"/>
                      <a:pt x="202" y="129"/>
                      <a:pt x="202" y="149"/>
                    </a:cubicBezTo>
                    <a:cubicBezTo>
                      <a:pt x="117" y="149"/>
                      <a:pt x="117" y="149"/>
                      <a:pt x="117" y="149"/>
                    </a:cubicBezTo>
                    <a:cubicBezTo>
                      <a:pt x="118" y="129"/>
                      <a:pt x="120" y="111"/>
                      <a:pt x="122" y="96"/>
                    </a:cubicBezTo>
                    <a:lnTo>
                      <a:pt x="197" y="96"/>
                    </a:lnTo>
                    <a:close/>
                    <a:moveTo>
                      <a:pt x="223" y="149"/>
                    </a:moveTo>
                    <a:cubicBezTo>
                      <a:pt x="223" y="131"/>
                      <a:pt x="221" y="113"/>
                      <a:pt x="218" y="96"/>
                    </a:cubicBezTo>
                    <a:cubicBezTo>
                      <a:pt x="283" y="96"/>
                      <a:pt x="283" y="96"/>
                      <a:pt x="283" y="96"/>
                    </a:cubicBezTo>
                    <a:cubicBezTo>
                      <a:pt x="291" y="112"/>
                      <a:pt x="296" y="130"/>
                      <a:pt x="298" y="149"/>
                    </a:cubicBezTo>
                    <a:lnTo>
                      <a:pt x="223" y="149"/>
                    </a:lnTo>
                    <a:close/>
                    <a:moveTo>
                      <a:pt x="269" y="74"/>
                    </a:moveTo>
                    <a:cubicBezTo>
                      <a:pt x="214" y="74"/>
                      <a:pt x="214" y="74"/>
                      <a:pt x="214" y="74"/>
                    </a:cubicBezTo>
                    <a:cubicBezTo>
                      <a:pt x="210" y="55"/>
                      <a:pt x="203" y="39"/>
                      <a:pt x="196" y="26"/>
                    </a:cubicBezTo>
                    <a:cubicBezTo>
                      <a:pt x="225" y="34"/>
                      <a:pt x="251" y="51"/>
                      <a:pt x="269" y="74"/>
                    </a:cubicBezTo>
                    <a:close/>
                    <a:moveTo>
                      <a:pt x="124" y="26"/>
                    </a:moveTo>
                    <a:cubicBezTo>
                      <a:pt x="116" y="39"/>
                      <a:pt x="110" y="55"/>
                      <a:pt x="105" y="74"/>
                    </a:cubicBezTo>
                    <a:cubicBezTo>
                      <a:pt x="51" y="74"/>
                      <a:pt x="51" y="74"/>
                      <a:pt x="51" y="74"/>
                    </a:cubicBezTo>
                    <a:cubicBezTo>
                      <a:pt x="69" y="51"/>
                      <a:pt x="94" y="34"/>
                      <a:pt x="124" y="26"/>
                    </a:cubicBezTo>
                    <a:close/>
                    <a:moveTo>
                      <a:pt x="51" y="245"/>
                    </a:moveTo>
                    <a:cubicBezTo>
                      <a:pt x="105" y="245"/>
                      <a:pt x="105" y="245"/>
                      <a:pt x="105" y="245"/>
                    </a:cubicBezTo>
                    <a:cubicBezTo>
                      <a:pt x="110" y="264"/>
                      <a:pt x="116" y="281"/>
                      <a:pt x="124" y="293"/>
                    </a:cubicBezTo>
                    <a:cubicBezTo>
                      <a:pt x="94" y="285"/>
                      <a:pt x="69" y="268"/>
                      <a:pt x="51" y="245"/>
                    </a:cubicBezTo>
                    <a:close/>
                    <a:moveTo>
                      <a:pt x="196" y="293"/>
                    </a:moveTo>
                    <a:cubicBezTo>
                      <a:pt x="203" y="281"/>
                      <a:pt x="210" y="264"/>
                      <a:pt x="214" y="245"/>
                    </a:cubicBezTo>
                    <a:cubicBezTo>
                      <a:pt x="269" y="245"/>
                      <a:pt x="269" y="245"/>
                      <a:pt x="269" y="245"/>
                    </a:cubicBezTo>
                    <a:cubicBezTo>
                      <a:pt x="251" y="268"/>
                      <a:pt x="225" y="285"/>
                      <a:pt x="196" y="29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" name="Freeform 55">
                <a:extLst>
                  <a:ext uri="{FF2B5EF4-FFF2-40B4-BE49-F238E27FC236}">
                    <a16:creationId xmlns:a16="http://schemas.microsoft.com/office/drawing/2014/main" id="{C6023F7A-281F-C844-BA27-C60AACC50B4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83" y="1046"/>
                <a:ext cx="340" cy="341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A6030B49-ABBA-714D-8A34-EC40E7E014FC}"/>
                </a:ext>
              </a:extLst>
            </p:cNvPr>
            <p:cNvGrpSpPr/>
            <p:nvPr/>
          </p:nvGrpSpPr>
          <p:grpSpPr>
            <a:xfrm>
              <a:off x="11116624" y="173688"/>
              <a:ext cx="365760" cy="365760"/>
              <a:chOff x="6806797" y="2076826"/>
              <a:chExt cx="685804" cy="685804"/>
            </a:xfrm>
            <a:solidFill>
              <a:schemeClr val="bg1">
                <a:lumMod val="75000"/>
              </a:schemeClr>
            </a:solidFill>
          </p:grpSpPr>
          <p:sp>
            <p:nvSpPr>
              <p:cNvPr id="15" name="Freeform 623">
                <a:extLst>
                  <a:ext uri="{FF2B5EF4-FFF2-40B4-BE49-F238E27FC236}">
                    <a16:creationId xmlns:a16="http://schemas.microsoft.com/office/drawing/2014/main" id="{A4FD5118-54E1-AB45-A285-8EC74B0C2A0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06797" y="2076826"/>
                <a:ext cx="685804" cy="685804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pic>
            <p:nvPicPr>
              <p:cNvPr id="16" name="Graphic 15" descr="Target">
                <a:extLst>
                  <a:ext uri="{FF2B5EF4-FFF2-40B4-BE49-F238E27FC236}">
                    <a16:creationId xmlns:a16="http://schemas.microsoft.com/office/drawing/2014/main" id="{F49CF584-F4A5-1646-8AF3-B500F507B81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6852519" y="2122548"/>
                <a:ext cx="594360" cy="594360"/>
              </a:xfrm>
              <a:prstGeom prst="rect">
                <a:avLst/>
              </a:prstGeom>
            </p:spPr>
          </p:pic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7F71AAC5-B834-D242-BB6F-8A482CE61E94}"/>
                </a:ext>
              </a:extLst>
            </p:cNvPr>
            <p:cNvGrpSpPr/>
            <p:nvPr/>
          </p:nvGrpSpPr>
          <p:grpSpPr>
            <a:xfrm>
              <a:off x="11538918" y="173688"/>
              <a:ext cx="365760" cy="365760"/>
              <a:chOff x="6806753" y="3091011"/>
              <a:chExt cx="685800" cy="685800"/>
            </a:xfrm>
            <a:solidFill>
              <a:schemeClr val="bg1">
                <a:lumMod val="75000"/>
              </a:schemeClr>
            </a:solidFill>
          </p:grpSpPr>
          <p:sp>
            <p:nvSpPr>
              <p:cNvPr id="13" name="Freeform 727">
                <a:extLst>
                  <a:ext uri="{FF2B5EF4-FFF2-40B4-BE49-F238E27FC236}">
                    <a16:creationId xmlns:a16="http://schemas.microsoft.com/office/drawing/2014/main" id="{EB066332-9C45-C14B-878C-C484243F361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06753" y="3091011"/>
                <a:ext cx="685800" cy="685800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pic>
            <p:nvPicPr>
              <p:cNvPr id="14" name="Graphic 13" descr="Head with gears">
                <a:extLst>
                  <a:ext uri="{FF2B5EF4-FFF2-40B4-BE49-F238E27FC236}">
                    <a16:creationId xmlns:a16="http://schemas.microsoft.com/office/drawing/2014/main" id="{4B6CB2A0-BC97-DA40-A5FE-F028EA0A512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6932592" y="3216850"/>
                <a:ext cx="434123" cy="434123"/>
              </a:xfrm>
              <a:prstGeom prst="rect">
                <a:avLst/>
              </a:prstGeom>
            </p:spPr>
          </p:pic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BF1345B2-7AD3-6A47-B893-68DE43D819F9}"/>
                </a:ext>
              </a:extLst>
            </p:cNvPr>
            <p:cNvGrpSpPr/>
            <p:nvPr/>
          </p:nvGrpSpPr>
          <p:grpSpPr>
            <a:xfrm>
              <a:off x="10694331" y="173688"/>
              <a:ext cx="365760" cy="365760"/>
              <a:chOff x="6806753" y="2142199"/>
              <a:chExt cx="685804" cy="685804"/>
            </a:xfrm>
          </p:grpSpPr>
          <p:sp>
            <p:nvSpPr>
              <p:cNvPr id="11" name="Freeform 623">
                <a:extLst>
                  <a:ext uri="{FF2B5EF4-FFF2-40B4-BE49-F238E27FC236}">
                    <a16:creationId xmlns:a16="http://schemas.microsoft.com/office/drawing/2014/main" id="{15FD7F61-1750-854A-9E62-FE580DC1D5E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06753" y="2142199"/>
                <a:ext cx="685804" cy="685804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solidFill>
                <a:srgbClr val="36B9EE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pic>
            <p:nvPicPr>
              <p:cNvPr id="12" name="Graphic 11" descr="Badge Tick outline">
                <a:extLst>
                  <a:ext uri="{FF2B5EF4-FFF2-40B4-BE49-F238E27FC236}">
                    <a16:creationId xmlns:a16="http://schemas.microsoft.com/office/drawing/2014/main" id="{32933E97-681E-AD44-99AA-4FDAFC6D4F0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6834429" y="2170883"/>
                <a:ext cx="628436" cy="628436"/>
              </a:xfrm>
              <a:prstGeom prst="rect">
                <a:avLst/>
              </a:prstGeom>
            </p:spPr>
          </p:pic>
        </p:grpSp>
      </p:grpSp>
      <p:sp>
        <p:nvSpPr>
          <p:cNvPr id="23" name="Content Placeholder 1">
            <a:extLst>
              <a:ext uri="{FF2B5EF4-FFF2-40B4-BE49-F238E27FC236}">
                <a16:creationId xmlns:a16="http://schemas.microsoft.com/office/drawing/2014/main" id="{BEE15851-939A-1A44-A774-AF03855559D8}"/>
              </a:ext>
            </a:extLst>
          </p:cNvPr>
          <p:cNvSpPr txBox="1">
            <a:spLocks/>
          </p:cNvSpPr>
          <p:nvPr/>
        </p:nvSpPr>
        <p:spPr>
          <a:xfrm>
            <a:off x="464998" y="1676400"/>
            <a:ext cx="2397946" cy="4705351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 spc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spc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spc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spc="0" baseline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spc="0" baseline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he Dashboards are set up to fit the width of a standard monitor with proportions to fit a standard letter size page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Page dimensions: </a:t>
            </a:r>
            <a:br>
              <a:rPr lang="en-US" dirty="0"/>
            </a:br>
            <a:r>
              <a:rPr lang="en-US" dirty="0"/>
              <a:t>1440px X 2048p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For best printing result, et Layout margins to 0.10” on all sides. Centered horizontally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Set Print Scaling to 1 page across by 1 page down. 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BF9A7E20-C5DD-2A4A-9E70-AA50A0E9B7BA}"/>
              </a:ext>
            </a:extLst>
          </p:cNvPr>
          <p:cNvSpPr txBox="1">
            <a:spLocks/>
          </p:cNvSpPr>
          <p:nvPr/>
        </p:nvSpPr>
        <p:spPr>
          <a:xfrm>
            <a:off x="469900" y="1127760"/>
            <a:ext cx="2393043" cy="548640"/>
          </a:xfrm>
          <a:prstGeom prst="rect">
            <a:avLst/>
          </a:prstGeom>
          <a:solidFill>
            <a:srgbClr val="7ACAEE"/>
          </a:solidFill>
        </p:spPr>
        <p:txBody>
          <a:bodyPr anchor="ctr"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 spc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spc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spc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spc="0" baseline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spc="0" baseline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/>
              <a:t>Layout and Scaling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E54C6639-15DA-964F-9C4E-0FE7DF983E53}"/>
              </a:ext>
            </a:extLst>
          </p:cNvPr>
          <p:cNvSpPr txBox="1"/>
          <p:nvPr/>
        </p:nvSpPr>
        <p:spPr>
          <a:xfrm>
            <a:off x="6822407" y="4438609"/>
            <a:ext cx="355436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1000" b="1" dirty="0">
                <a:solidFill>
                  <a:srgbClr val="C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et printing scale to fit 1 page across by 1 page down.</a:t>
            </a:r>
          </a:p>
        </p:txBody>
      </p:sp>
      <p:pic>
        <p:nvPicPr>
          <p:cNvPr id="5" name="Picture 4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D82A3FEB-0CEF-C04E-AF08-50C7E4585C2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1673" y="1131177"/>
            <a:ext cx="3554366" cy="3272978"/>
          </a:xfrm>
          <a:prstGeom prst="rect">
            <a:avLst/>
          </a:prstGeom>
        </p:spPr>
      </p:pic>
      <p:pic>
        <p:nvPicPr>
          <p:cNvPr id="21" name="Picture 20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2BBF44B2-D1CC-AD43-BCA7-88F5AC34872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22407" y="1127760"/>
            <a:ext cx="3554366" cy="3279812"/>
          </a:xfrm>
          <a:prstGeom prst="rect">
            <a:avLst/>
          </a:prstGeom>
          <a:ln>
            <a:solidFill>
              <a:srgbClr val="C00000"/>
            </a:solidFill>
          </a:ln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3D4AEF0E-E218-4441-8DD9-356EB2C10B25}"/>
              </a:ext>
            </a:extLst>
          </p:cNvPr>
          <p:cNvSpPr txBox="1"/>
          <p:nvPr/>
        </p:nvSpPr>
        <p:spPr>
          <a:xfrm>
            <a:off x="3054350" y="4438609"/>
            <a:ext cx="302063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1000" dirty="0">
                <a:solidFill>
                  <a:srgbClr val="31313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et Layout margins equal to 0.10” on all sides. Center Horizontally.</a:t>
            </a:r>
          </a:p>
        </p:txBody>
      </p:sp>
    </p:spTree>
    <p:extLst>
      <p:ext uri="{BB962C8B-B14F-4D97-AF65-F5344CB8AC3E}">
        <p14:creationId xmlns:p14="http://schemas.microsoft.com/office/powerpoint/2010/main" val="2224509845"/>
      </p:ext>
    </p:extLst>
  </p:cSld>
  <p:clrMapOvr>
    <a:masterClrMapping/>
  </p:clrMapOvr>
  <p:transition>
    <p:fad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5DAED6B1-6292-6247-980F-02C1909970F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9900" y="736689"/>
            <a:ext cx="11252200" cy="283090"/>
          </a:xfrm>
        </p:spPr>
        <p:txBody>
          <a:bodyPr/>
          <a:lstStyle/>
          <a:p>
            <a:r>
              <a:rPr lang="en-US" sz="1200" dirty="0"/>
              <a:t>Custom settings for workbook development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3EC109-DCC4-D84A-96DD-9E1DD06C1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3563"/>
          </a:xfrm>
        </p:spPr>
        <p:txBody>
          <a:bodyPr/>
          <a:lstStyle/>
          <a:p>
            <a:r>
              <a:rPr lang="en-US" b="1" spc="0" dirty="0"/>
              <a:t>Tableau Customization | </a:t>
            </a:r>
            <a:r>
              <a:rPr lang="en-US" spc="0" dirty="0"/>
              <a:t>Color Preferences</a:t>
            </a:r>
            <a:endParaRPr lang="en-US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E6DFAAE-C9C6-9D46-B795-9BC79C578A16}"/>
              </a:ext>
            </a:extLst>
          </p:cNvPr>
          <p:cNvGrpSpPr/>
          <p:nvPr/>
        </p:nvGrpSpPr>
        <p:grpSpPr>
          <a:xfrm>
            <a:off x="10272038" y="173150"/>
            <a:ext cx="1632640" cy="366837"/>
            <a:chOff x="10272038" y="173150"/>
            <a:chExt cx="1632640" cy="366837"/>
          </a:xfrm>
        </p:grpSpPr>
        <p:grpSp>
          <p:nvGrpSpPr>
            <p:cNvPr id="7" name="Group 53">
              <a:extLst>
                <a:ext uri="{FF2B5EF4-FFF2-40B4-BE49-F238E27FC236}">
                  <a16:creationId xmlns:a16="http://schemas.microsoft.com/office/drawing/2014/main" id="{6C2C28C1-636A-1340-B840-A66A9F1DF6AB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0272038" y="173150"/>
              <a:ext cx="365760" cy="366837"/>
              <a:chOff x="5183" y="1046"/>
              <a:chExt cx="340" cy="341"/>
            </a:xfrm>
            <a:solidFill>
              <a:schemeClr val="bg1">
                <a:lumMod val="75000"/>
              </a:schemeClr>
            </a:solidFill>
          </p:grpSpPr>
          <p:sp>
            <p:nvSpPr>
              <p:cNvPr id="17" name="Freeform 54">
                <a:extLst>
                  <a:ext uri="{FF2B5EF4-FFF2-40B4-BE49-F238E27FC236}">
                    <a16:creationId xmlns:a16="http://schemas.microsoft.com/office/drawing/2014/main" id="{B3E3306A-20E7-4246-B14C-099787069D1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47" y="1110"/>
                <a:ext cx="212" cy="213"/>
              </a:xfrm>
              <a:custGeom>
                <a:avLst/>
                <a:gdLst>
                  <a:gd name="T0" fmla="*/ 160 w 320"/>
                  <a:gd name="T1" fmla="*/ 0 h 320"/>
                  <a:gd name="T2" fmla="*/ 0 w 320"/>
                  <a:gd name="T3" fmla="*/ 160 h 320"/>
                  <a:gd name="T4" fmla="*/ 160 w 320"/>
                  <a:gd name="T5" fmla="*/ 320 h 320"/>
                  <a:gd name="T6" fmla="*/ 320 w 320"/>
                  <a:gd name="T7" fmla="*/ 160 h 320"/>
                  <a:gd name="T8" fmla="*/ 160 w 320"/>
                  <a:gd name="T9" fmla="*/ 0 h 320"/>
                  <a:gd name="T10" fmla="*/ 283 w 320"/>
                  <a:gd name="T11" fmla="*/ 224 h 320"/>
                  <a:gd name="T12" fmla="*/ 218 w 320"/>
                  <a:gd name="T13" fmla="*/ 224 h 320"/>
                  <a:gd name="T14" fmla="*/ 223 w 320"/>
                  <a:gd name="T15" fmla="*/ 170 h 320"/>
                  <a:gd name="T16" fmla="*/ 298 w 320"/>
                  <a:gd name="T17" fmla="*/ 170 h 320"/>
                  <a:gd name="T18" fmla="*/ 283 w 320"/>
                  <a:gd name="T19" fmla="*/ 224 h 320"/>
                  <a:gd name="T20" fmla="*/ 160 w 320"/>
                  <a:gd name="T21" fmla="*/ 298 h 320"/>
                  <a:gd name="T22" fmla="*/ 127 w 320"/>
                  <a:gd name="T23" fmla="*/ 245 h 320"/>
                  <a:gd name="T24" fmla="*/ 192 w 320"/>
                  <a:gd name="T25" fmla="*/ 245 h 320"/>
                  <a:gd name="T26" fmla="*/ 160 w 320"/>
                  <a:gd name="T27" fmla="*/ 298 h 320"/>
                  <a:gd name="T28" fmla="*/ 122 w 320"/>
                  <a:gd name="T29" fmla="*/ 224 h 320"/>
                  <a:gd name="T30" fmla="*/ 117 w 320"/>
                  <a:gd name="T31" fmla="*/ 170 h 320"/>
                  <a:gd name="T32" fmla="*/ 202 w 320"/>
                  <a:gd name="T33" fmla="*/ 170 h 320"/>
                  <a:gd name="T34" fmla="*/ 197 w 320"/>
                  <a:gd name="T35" fmla="*/ 224 h 320"/>
                  <a:gd name="T36" fmla="*/ 122 w 320"/>
                  <a:gd name="T37" fmla="*/ 224 h 320"/>
                  <a:gd name="T38" fmla="*/ 22 w 320"/>
                  <a:gd name="T39" fmla="*/ 170 h 320"/>
                  <a:gd name="T40" fmla="*/ 96 w 320"/>
                  <a:gd name="T41" fmla="*/ 170 h 320"/>
                  <a:gd name="T42" fmla="*/ 101 w 320"/>
                  <a:gd name="T43" fmla="*/ 224 h 320"/>
                  <a:gd name="T44" fmla="*/ 37 w 320"/>
                  <a:gd name="T45" fmla="*/ 224 h 320"/>
                  <a:gd name="T46" fmla="*/ 22 w 320"/>
                  <a:gd name="T47" fmla="*/ 170 h 320"/>
                  <a:gd name="T48" fmla="*/ 37 w 320"/>
                  <a:gd name="T49" fmla="*/ 96 h 320"/>
                  <a:gd name="T50" fmla="*/ 101 w 320"/>
                  <a:gd name="T51" fmla="*/ 96 h 320"/>
                  <a:gd name="T52" fmla="*/ 96 w 320"/>
                  <a:gd name="T53" fmla="*/ 149 h 320"/>
                  <a:gd name="T54" fmla="*/ 22 w 320"/>
                  <a:gd name="T55" fmla="*/ 149 h 320"/>
                  <a:gd name="T56" fmla="*/ 37 w 320"/>
                  <a:gd name="T57" fmla="*/ 96 h 320"/>
                  <a:gd name="T58" fmla="*/ 160 w 320"/>
                  <a:gd name="T59" fmla="*/ 21 h 320"/>
                  <a:gd name="T60" fmla="*/ 192 w 320"/>
                  <a:gd name="T61" fmla="*/ 74 h 320"/>
                  <a:gd name="T62" fmla="*/ 127 w 320"/>
                  <a:gd name="T63" fmla="*/ 74 h 320"/>
                  <a:gd name="T64" fmla="*/ 160 w 320"/>
                  <a:gd name="T65" fmla="*/ 21 h 320"/>
                  <a:gd name="T66" fmla="*/ 197 w 320"/>
                  <a:gd name="T67" fmla="*/ 96 h 320"/>
                  <a:gd name="T68" fmla="*/ 202 w 320"/>
                  <a:gd name="T69" fmla="*/ 149 h 320"/>
                  <a:gd name="T70" fmla="*/ 117 w 320"/>
                  <a:gd name="T71" fmla="*/ 149 h 320"/>
                  <a:gd name="T72" fmla="*/ 122 w 320"/>
                  <a:gd name="T73" fmla="*/ 96 h 320"/>
                  <a:gd name="T74" fmla="*/ 197 w 320"/>
                  <a:gd name="T75" fmla="*/ 96 h 320"/>
                  <a:gd name="T76" fmla="*/ 223 w 320"/>
                  <a:gd name="T77" fmla="*/ 149 h 320"/>
                  <a:gd name="T78" fmla="*/ 218 w 320"/>
                  <a:gd name="T79" fmla="*/ 96 h 320"/>
                  <a:gd name="T80" fmla="*/ 283 w 320"/>
                  <a:gd name="T81" fmla="*/ 96 h 320"/>
                  <a:gd name="T82" fmla="*/ 298 w 320"/>
                  <a:gd name="T83" fmla="*/ 149 h 320"/>
                  <a:gd name="T84" fmla="*/ 223 w 320"/>
                  <a:gd name="T85" fmla="*/ 149 h 320"/>
                  <a:gd name="T86" fmla="*/ 269 w 320"/>
                  <a:gd name="T87" fmla="*/ 74 h 320"/>
                  <a:gd name="T88" fmla="*/ 214 w 320"/>
                  <a:gd name="T89" fmla="*/ 74 h 320"/>
                  <a:gd name="T90" fmla="*/ 196 w 320"/>
                  <a:gd name="T91" fmla="*/ 26 h 320"/>
                  <a:gd name="T92" fmla="*/ 269 w 320"/>
                  <a:gd name="T93" fmla="*/ 74 h 320"/>
                  <a:gd name="T94" fmla="*/ 124 w 320"/>
                  <a:gd name="T95" fmla="*/ 26 h 320"/>
                  <a:gd name="T96" fmla="*/ 105 w 320"/>
                  <a:gd name="T97" fmla="*/ 74 h 320"/>
                  <a:gd name="T98" fmla="*/ 51 w 320"/>
                  <a:gd name="T99" fmla="*/ 74 h 320"/>
                  <a:gd name="T100" fmla="*/ 124 w 320"/>
                  <a:gd name="T101" fmla="*/ 26 h 320"/>
                  <a:gd name="T102" fmla="*/ 51 w 320"/>
                  <a:gd name="T103" fmla="*/ 245 h 320"/>
                  <a:gd name="T104" fmla="*/ 105 w 320"/>
                  <a:gd name="T105" fmla="*/ 245 h 320"/>
                  <a:gd name="T106" fmla="*/ 124 w 320"/>
                  <a:gd name="T107" fmla="*/ 293 h 320"/>
                  <a:gd name="T108" fmla="*/ 51 w 320"/>
                  <a:gd name="T109" fmla="*/ 245 h 320"/>
                  <a:gd name="T110" fmla="*/ 196 w 320"/>
                  <a:gd name="T111" fmla="*/ 293 h 320"/>
                  <a:gd name="T112" fmla="*/ 214 w 320"/>
                  <a:gd name="T113" fmla="*/ 245 h 320"/>
                  <a:gd name="T114" fmla="*/ 269 w 320"/>
                  <a:gd name="T115" fmla="*/ 245 h 320"/>
                  <a:gd name="T116" fmla="*/ 196 w 320"/>
                  <a:gd name="T117" fmla="*/ 293 h 3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320" h="320">
                    <a:moveTo>
                      <a:pt x="160" y="0"/>
                    </a:moveTo>
                    <a:cubicBezTo>
                      <a:pt x="71" y="0"/>
                      <a:pt x="0" y="71"/>
                      <a:pt x="0" y="160"/>
                    </a:cubicBezTo>
                    <a:cubicBezTo>
                      <a:pt x="0" y="248"/>
                      <a:pt x="71" y="320"/>
                      <a:pt x="160" y="320"/>
                    </a:cubicBezTo>
                    <a:cubicBezTo>
                      <a:pt x="248" y="320"/>
                      <a:pt x="320" y="248"/>
                      <a:pt x="320" y="160"/>
                    </a:cubicBezTo>
                    <a:cubicBezTo>
                      <a:pt x="320" y="71"/>
                      <a:pt x="248" y="0"/>
                      <a:pt x="160" y="0"/>
                    </a:cubicBezTo>
                    <a:close/>
                    <a:moveTo>
                      <a:pt x="283" y="224"/>
                    </a:moveTo>
                    <a:cubicBezTo>
                      <a:pt x="218" y="224"/>
                      <a:pt x="218" y="224"/>
                      <a:pt x="218" y="224"/>
                    </a:cubicBezTo>
                    <a:cubicBezTo>
                      <a:pt x="221" y="207"/>
                      <a:pt x="223" y="188"/>
                      <a:pt x="223" y="170"/>
                    </a:cubicBezTo>
                    <a:cubicBezTo>
                      <a:pt x="298" y="170"/>
                      <a:pt x="298" y="170"/>
                      <a:pt x="298" y="170"/>
                    </a:cubicBezTo>
                    <a:cubicBezTo>
                      <a:pt x="296" y="189"/>
                      <a:pt x="291" y="207"/>
                      <a:pt x="283" y="224"/>
                    </a:cubicBezTo>
                    <a:close/>
                    <a:moveTo>
                      <a:pt x="160" y="298"/>
                    </a:moveTo>
                    <a:cubicBezTo>
                      <a:pt x="149" y="298"/>
                      <a:pt x="136" y="279"/>
                      <a:pt x="127" y="245"/>
                    </a:cubicBezTo>
                    <a:cubicBezTo>
                      <a:pt x="192" y="245"/>
                      <a:pt x="192" y="245"/>
                      <a:pt x="192" y="245"/>
                    </a:cubicBezTo>
                    <a:cubicBezTo>
                      <a:pt x="183" y="279"/>
                      <a:pt x="170" y="298"/>
                      <a:pt x="160" y="298"/>
                    </a:cubicBezTo>
                    <a:close/>
                    <a:moveTo>
                      <a:pt x="122" y="224"/>
                    </a:moveTo>
                    <a:cubicBezTo>
                      <a:pt x="120" y="208"/>
                      <a:pt x="118" y="190"/>
                      <a:pt x="117" y="170"/>
                    </a:cubicBezTo>
                    <a:cubicBezTo>
                      <a:pt x="202" y="170"/>
                      <a:pt x="202" y="170"/>
                      <a:pt x="202" y="170"/>
                    </a:cubicBezTo>
                    <a:cubicBezTo>
                      <a:pt x="202" y="190"/>
                      <a:pt x="200" y="208"/>
                      <a:pt x="197" y="224"/>
                    </a:cubicBezTo>
                    <a:lnTo>
                      <a:pt x="122" y="224"/>
                    </a:lnTo>
                    <a:close/>
                    <a:moveTo>
                      <a:pt x="22" y="170"/>
                    </a:moveTo>
                    <a:cubicBezTo>
                      <a:pt x="96" y="170"/>
                      <a:pt x="96" y="170"/>
                      <a:pt x="96" y="170"/>
                    </a:cubicBezTo>
                    <a:cubicBezTo>
                      <a:pt x="96" y="188"/>
                      <a:pt x="98" y="207"/>
                      <a:pt x="101" y="224"/>
                    </a:cubicBezTo>
                    <a:cubicBezTo>
                      <a:pt x="37" y="224"/>
                      <a:pt x="37" y="224"/>
                      <a:pt x="37" y="224"/>
                    </a:cubicBezTo>
                    <a:cubicBezTo>
                      <a:pt x="28" y="207"/>
                      <a:pt x="23" y="189"/>
                      <a:pt x="22" y="170"/>
                    </a:cubicBezTo>
                    <a:close/>
                    <a:moveTo>
                      <a:pt x="37" y="96"/>
                    </a:moveTo>
                    <a:cubicBezTo>
                      <a:pt x="101" y="96"/>
                      <a:pt x="101" y="96"/>
                      <a:pt x="101" y="96"/>
                    </a:cubicBezTo>
                    <a:cubicBezTo>
                      <a:pt x="98" y="113"/>
                      <a:pt x="96" y="131"/>
                      <a:pt x="96" y="149"/>
                    </a:cubicBezTo>
                    <a:cubicBezTo>
                      <a:pt x="22" y="149"/>
                      <a:pt x="22" y="149"/>
                      <a:pt x="22" y="149"/>
                    </a:cubicBezTo>
                    <a:cubicBezTo>
                      <a:pt x="23" y="130"/>
                      <a:pt x="28" y="112"/>
                      <a:pt x="37" y="96"/>
                    </a:cubicBezTo>
                    <a:close/>
                    <a:moveTo>
                      <a:pt x="160" y="21"/>
                    </a:moveTo>
                    <a:cubicBezTo>
                      <a:pt x="170" y="21"/>
                      <a:pt x="183" y="41"/>
                      <a:pt x="192" y="74"/>
                    </a:cubicBezTo>
                    <a:cubicBezTo>
                      <a:pt x="127" y="74"/>
                      <a:pt x="127" y="74"/>
                      <a:pt x="127" y="74"/>
                    </a:cubicBezTo>
                    <a:cubicBezTo>
                      <a:pt x="136" y="41"/>
                      <a:pt x="149" y="21"/>
                      <a:pt x="160" y="21"/>
                    </a:cubicBezTo>
                    <a:close/>
                    <a:moveTo>
                      <a:pt x="197" y="96"/>
                    </a:moveTo>
                    <a:cubicBezTo>
                      <a:pt x="200" y="111"/>
                      <a:pt x="202" y="129"/>
                      <a:pt x="202" y="149"/>
                    </a:cubicBezTo>
                    <a:cubicBezTo>
                      <a:pt x="117" y="149"/>
                      <a:pt x="117" y="149"/>
                      <a:pt x="117" y="149"/>
                    </a:cubicBezTo>
                    <a:cubicBezTo>
                      <a:pt x="118" y="129"/>
                      <a:pt x="120" y="111"/>
                      <a:pt x="122" y="96"/>
                    </a:cubicBezTo>
                    <a:lnTo>
                      <a:pt x="197" y="96"/>
                    </a:lnTo>
                    <a:close/>
                    <a:moveTo>
                      <a:pt x="223" y="149"/>
                    </a:moveTo>
                    <a:cubicBezTo>
                      <a:pt x="223" y="131"/>
                      <a:pt x="221" y="113"/>
                      <a:pt x="218" y="96"/>
                    </a:cubicBezTo>
                    <a:cubicBezTo>
                      <a:pt x="283" y="96"/>
                      <a:pt x="283" y="96"/>
                      <a:pt x="283" y="96"/>
                    </a:cubicBezTo>
                    <a:cubicBezTo>
                      <a:pt x="291" y="112"/>
                      <a:pt x="296" y="130"/>
                      <a:pt x="298" y="149"/>
                    </a:cubicBezTo>
                    <a:lnTo>
                      <a:pt x="223" y="149"/>
                    </a:lnTo>
                    <a:close/>
                    <a:moveTo>
                      <a:pt x="269" y="74"/>
                    </a:moveTo>
                    <a:cubicBezTo>
                      <a:pt x="214" y="74"/>
                      <a:pt x="214" y="74"/>
                      <a:pt x="214" y="74"/>
                    </a:cubicBezTo>
                    <a:cubicBezTo>
                      <a:pt x="210" y="55"/>
                      <a:pt x="203" y="39"/>
                      <a:pt x="196" y="26"/>
                    </a:cubicBezTo>
                    <a:cubicBezTo>
                      <a:pt x="225" y="34"/>
                      <a:pt x="251" y="51"/>
                      <a:pt x="269" y="74"/>
                    </a:cubicBezTo>
                    <a:close/>
                    <a:moveTo>
                      <a:pt x="124" y="26"/>
                    </a:moveTo>
                    <a:cubicBezTo>
                      <a:pt x="116" y="39"/>
                      <a:pt x="110" y="55"/>
                      <a:pt x="105" y="74"/>
                    </a:cubicBezTo>
                    <a:cubicBezTo>
                      <a:pt x="51" y="74"/>
                      <a:pt x="51" y="74"/>
                      <a:pt x="51" y="74"/>
                    </a:cubicBezTo>
                    <a:cubicBezTo>
                      <a:pt x="69" y="51"/>
                      <a:pt x="94" y="34"/>
                      <a:pt x="124" y="26"/>
                    </a:cubicBezTo>
                    <a:close/>
                    <a:moveTo>
                      <a:pt x="51" y="245"/>
                    </a:moveTo>
                    <a:cubicBezTo>
                      <a:pt x="105" y="245"/>
                      <a:pt x="105" y="245"/>
                      <a:pt x="105" y="245"/>
                    </a:cubicBezTo>
                    <a:cubicBezTo>
                      <a:pt x="110" y="264"/>
                      <a:pt x="116" y="281"/>
                      <a:pt x="124" y="293"/>
                    </a:cubicBezTo>
                    <a:cubicBezTo>
                      <a:pt x="94" y="285"/>
                      <a:pt x="69" y="268"/>
                      <a:pt x="51" y="245"/>
                    </a:cubicBezTo>
                    <a:close/>
                    <a:moveTo>
                      <a:pt x="196" y="293"/>
                    </a:moveTo>
                    <a:cubicBezTo>
                      <a:pt x="203" y="281"/>
                      <a:pt x="210" y="264"/>
                      <a:pt x="214" y="245"/>
                    </a:cubicBezTo>
                    <a:cubicBezTo>
                      <a:pt x="269" y="245"/>
                      <a:pt x="269" y="245"/>
                      <a:pt x="269" y="245"/>
                    </a:cubicBezTo>
                    <a:cubicBezTo>
                      <a:pt x="251" y="268"/>
                      <a:pt x="225" y="285"/>
                      <a:pt x="196" y="29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" name="Freeform 55">
                <a:extLst>
                  <a:ext uri="{FF2B5EF4-FFF2-40B4-BE49-F238E27FC236}">
                    <a16:creationId xmlns:a16="http://schemas.microsoft.com/office/drawing/2014/main" id="{C6023F7A-281F-C844-BA27-C60AACC50B4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83" y="1046"/>
                <a:ext cx="340" cy="341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A6030B49-ABBA-714D-8A34-EC40E7E014FC}"/>
                </a:ext>
              </a:extLst>
            </p:cNvPr>
            <p:cNvGrpSpPr/>
            <p:nvPr/>
          </p:nvGrpSpPr>
          <p:grpSpPr>
            <a:xfrm>
              <a:off x="11116624" y="173688"/>
              <a:ext cx="365760" cy="365760"/>
              <a:chOff x="6806797" y="2076826"/>
              <a:chExt cx="685804" cy="685804"/>
            </a:xfrm>
            <a:solidFill>
              <a:schemeClr val="bg1">
                <a:lumMod val="75000"/>
              </a:schemeClr>
            </a:solidFill>
          </p:grpSpPr>
          <p:sp>
            <p:nvSpPr>
              <p:cNvPr id="15" name="Freeform 623">
                <a:extLst>
                  <a:ext uri="{FF2B5EF4-FFF2-40B4-BE49-F238E27FC236}">
                    <a16:creationId xmlns:a16="http://schemas.microsoft.com/office/drawing/2014/main" id="{A4FD5118-54E1-AB45-A285-8EC74B0C2A0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06797" y="2076826"/>
                <a:ext cx="685804" cy="685804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pic>
            <p:nvPicPr>
              <p:cNvPr id="16" name="Graphic 15" descr="Target">
                <a:extLst>
                  <a:ext uri="{FF2B5EF4-FFF2-40B4-BE49-F238E27FC236}">
                    <a16:creationId xmlns:a16="http://schemas.microsoft.com/office/drawing/2014/main" id="{F49CF584-F4A5-1646-8AF3-B500F507B81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6852519" y="2122548"/>
                <a:ext cx="594360" cy="594360"/>
              </a:xfrm>
              <a:prstGeom prst="rect">
                <a:avLst/>
              </a:prstGeom>
            </p:spPr>
          </p:pic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7F71AAC5-B834-D242-BB6F-8A482CE61E94}"/>
                </a:ext>
              </a:extLst>
            </p:cNvPr>
            <p:cNvGrpSpPr/>
            <p:nvPr/>
          </p:nvGrpSpPr>
          <p:grpSpPr>
            <a:xfrm>
              <a:off x="11538918" y="173688"/>
              <a:ext cx="365760" cy="365760"/>
              <a:chOff x="6806753" y="3091011"/>
              <a:chExt cx="685800" cy="685800"/>
            </a:xfrm>
            <a:solidFill>
              <a:schemeClr val="bg1">
                <a:lumMod val="75000"/>
              </a:schemeClr>
            </a:solidFill>
          </p:grpSpPr>
          <p:sp>
            <p:nvSpPr>
              <p:cNvPr id="13" name="Freeform 727">
                <a:extLst>
                  <a:ext uri="{FF2B5EF4-FFF2-40B4-BE49-F238E27FC236}">
                    <a16:creationId xmlns:a16="http://schemas.microsoft.com/office/drawing/2014/main" id="{EB066332-9C45-C14B-878C-C484243F361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06753" y="3091011"/>
                <a:ext cx="685800" cy="685800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pic>
            <p:nvPicPr>
              <p:cNvPr id="14" name="Graphic 13" descr="Head with gears">
                <a:extLst>
                  <a:ext uri="{FF2B5EF4-FFF2-40B4-BE49-F238E27FC236}">
                    <a16:creationId xmlns:a16="http://schemas.microsoft.com/office/drawing/2014/main" id="{4B6CB2A0-BC97-DA40-A5FE-F028EA0A512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6932592" y="3216850"/>
                <a:ext cx="434123" cy="434123"/>
              </a:xfrm>
              <a:prstGeom prst="rect">
                <a:avLst/>
              </a:prstGeom>
            </p:spPr>
          </p:pic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BF1345B2-7AD3-6A47-B893-68DE43D819F9}"/>
                </a:ext>
              </a:extLst>
            </p:cNvPr>
            <p:cNvGrpSpPr/>
            <p:nvPr/>
          </p:nvGrpSpPr>
          <p:grpSpPr>
            <a:xfrm>
              <a:off x="10694331" y="173688"/>
              <a:ext cx="365760" cy="365760"/>
              <a:chOff x="6806753" y="2142199"/>
              <a:chExt cx="685804" cy="685804"/>
            </a:xfrm>
          </p:grpSpPr>
          <p:sp>
            <p:nvSpPr>
              <p:cNvPr id="11" name="Freeform 623">
                <a:extLst>
                  <a:ext uri="{FF2B5EF4-FFF2-40B4-BE49-F238E27FC236}">
                    <a16:creationId xmlns:a16="http://schemas.microsoft.com/office/drawing/2014/main" id="{15FD7F61-1750-854A-9E62-FE580DC1D5E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06753" y="2142199"/>
                <a:ext cx="685804" cy="685804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solidFill>
                <a:srgbClr val="36B9EE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pic>
            <p:nvPicPr>
              <p:cNvPr id="12" name="Graphic 11" descr="Badge Tick outline">
                <a:extLst>
                  <a:ext uri="{FF2B5EF4-FFF2-40B4-BE49-F238E27FC236}">
                    <a16:creationId xmlns:a16="http://schemas.microsoft.com/office/drawing/2014/main" id="{32933E97-681E-AD44-99AA-4FDAFC6D4F0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6834429" y="2170883"/>
                <a:ext cx="628436" cy="628436"/>
              </a:xfrm>
              <a:prstGeom prst="rect">
                <a:avLst/>
              </a:prstGeom>
            </p:spPr>
          </p:pic>
        </p:grpSp>
      </p:grpSp>
      <p:sp>
        <p:nvSpPr>
          <p:cNvPr id="23" name="Content Placeholder 1">
            <a:extLst>
              <a:ext uri="{FF2B5EF4-FFF2-40B4-BE49-F238E27FC236}">
                <a16:creationId xmlns:a16="http://schemas.microsoft.com/office/drawing/2014/main" id="{BEE15851-939A-1A44-A774-AF03855559D8}"/>
              </a:ext>
            </a:extLst>
          </p:cNvPr>
          <p:cNvSpPr txBox="1">
            <a:spLocks/>
          </p:cNvSpPr>
          <p:nvPr/>
        </p:nvSpPr>
        <p:spPr>
          <a:xfrm>
            <a:off x="464998" y="1676400"/>
            <a:ext cx="2397946" cy="4705351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 spc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spc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spc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spc="0" baseline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spc="0" baseline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Open your Tableau </a:t>
            </a:r>
            <a:r>
              <a:rPr lang="en-US" dirty="0" err="1"/>
              <a:t>preferences.tps</a:t>
            </a:r>
            <a:r>
              <a:rPr lang="en-US" dirty="0"/>
              <a:t> file and add the following color hex codes between the &lt;preferences&gt; tag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BF9A7E20-C5DD-2A4A-9E70-AA50A0E9B7BA}"/>
              </a:ext>
            </a:extLst>
          </p:cNvPr>
          <p:cNvSpPr txBox="1">
            <a:spLocks/>
          </p:cNvSpPr>
          <p:nvPr/>
        </p:nvSpPr>
        <p:spPr>
          <a:xfrm>
            <a:off x="469900" y="1127760"/>
            <a:ext cx="2393043" cy="548640"/>
          </a:xfrm>
          <a:prstGeom prst="rect">
            <a:avLst/>
          </a:prstGeom>
          <a:solidFill>
            <a:srgbClr val="7ACAEE"/>
          </a:solidFill>
        </p:spPr>
        <p:txBody>
          <a:bodyPr anchor="ctr"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 spc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spc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spc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spc="0" baseline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spc="0" baseline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err="1"/>
              <a:t>Preferences.tps</a:t>
            </a:r>
            <a:endParaRPr lang="en-US" b="1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66E3FD1-08C2-7943-BB31-A3B032436368}"/>
              </a:ext>
            </a:extLst>
          </p:cNvPr>
          <p:cNvSpPr txBox="1"/>
          <p:nvPr/>
        </p:nvSpPr>
        <p:spPr>
          <a:xfrm>
            <a:off x="3499556" y="1127760"/>
            <a:ext cx="6434667" cy="4893647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&lt;workbook&gt;</a:t>
            </a:r>
          </a:p>
          <a:p>
            <a:pPr>
              <a:spcBef>
                <a:spcPts val="600"/>
              </a:spcBef>
              <a:buSzPct val="100000"/>
            </a:pP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&lt;preferences&gt;</a:t>
            </a:r>
          </a:p>
          <a:p>
            <a:pPr>
              <a:spcBef>
                <a:spcPts val="600"/>
              </a:spcBef>
              <a:buSzPct val="100000"/>
            </a:pPr>
            <a:r>
              <a:rPr lang="en-US" sz="1200" dirty="0">
                <a:solidFill>
                  <a:srgbClr val="31313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&lt;color-palette name="AI SGO" type="regular" &gt;</a:t>
            </a:r>
          </a:p>
          <a:p>
            <a:pPr>
              <a:spcBef>
                <a:spcPts val="600"/>
              </a:spcBef>
              <a:buSzPct val="100000"/>
            </a:pPr>
            <a:r>
              <a:rPr lang="en-US" sz="1200" dirty="0">
                <a:solidFill>
                  <a:srgbClr val="31313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  &lt;!-- Base Colors --&gt;</a:t>
            </a:r>
          </a:p>
          <a:p>
            <a:pPr>
              <a:spcBef>
                <a:spcPts val="600"/>
              </a:spcBef>
              <a:buSzPct val="100000"/>
            </a:pPr>
            <a:r>
              <a:rPr lang="en-US" sz="1200" dirty="0">
                <a:solidFill>
                  <a:srgbClr val="31313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  &lt;color&gt;#00597F&lt;/color&gt;</a:t>
            </a:r>
          </a:p>
          <a:p>
            <a:pPr>
              <a:spcBef>
                <a:spcPts val="600"/>
              </a:spcBef>
              <a:buSzPct val="100000"/>
            </a:pPr>
            <a:r>
              <a:rPr lang="en-US" sz="1200" dirty="0">
                <a:solidFill>
                  <a:srgbClr val="31313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  &lt;color&gt;#86BC25&lt;/color&gt;</a:t>
            </a:r>
          </a:p>
          <a:p>
            <a:pPr>
              <a:spcBef>
                <a:spcPts val="600"/>
              </a:spcBef>
              <a:buSzPct val="100000"/>
            </a:pPr>
            <a:r>
              <a:rPr lang="en-US" sz="1200" dirty="0">
                <a:solidFill>
                  <a:srgbClr val="31313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  &lt;color&gt;#3DDCED&lt;/color&gt;</a:t>
            </a:r>
          </a:p>
          <a:p>
            <a:pPr>
              <a:spcBef>
                <a:spcPts val="600"/>
              </a:spcBef>
              <a:buSzPct val="100000"/>
            </a:pPr>
            <a:r>
              <a:rPr lang="en-US" sz="1200" dirty="0">
                <a:solidFill>
                  <a:srgbClr val="31313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  &lt;color&gt;#484848&lt;/color&gt;</a:t>
            </a:r>
          </a:p>
          <a:p>
            <a:pPr>
              <a:spcBef>
                <a:spcPts val="600"/>
              </a:spcBef>
              <a:buSzPct val="100000"/>
            </a:pPr>
            <a:r>
              <a:rPr lang="en-US" sz="1200" dirty="0">
                <a:solidFill>
                  <a:srgbClr val="31313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  &lt;color&gt;#EAEAEA&lt;/color&gt;</a:t>
            </a:r>
          </a:p>
          <a:p>
            <a:pPr>
              <a:spcBef>
                <a:spcPts val="600"/>
              </a:spcBef>
              <a:buSzPct val="100000"/>
            </a:pPr>
            <a:r>
              <a:rPr lang="en-US" sz="1200" dirty="0">
                <a:solidFill>
                  <a:srgbClr val="31313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  &lt;!-- Data and Features Colors --&gt;</a:t>
            </a:r>
          </a:p>
          <a:p>
            <a:pPr>
              <a:spcBef>
                <a:spcPts val="600"/>
              </a:spcBef>
              <a:buSzPct val="100000"/>
            </a:pPr>
            <a:r>
              <a:rPr lang="en-US" sz="1200" dirty="0">
                <a:solidFill>
                  <a:srgbClr val="31313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  &lt;color&gt;#B9D881&lt;/color&gt;</a:t>
            </a:r>
          </a:p>
          <a:p>
            <a:pPr>
              <a:spcBef>
                <a:spcPts val="600"/>
              </a:spcBef>
              <a:buSzPct val="100000"/>
            </a:pPr>
            <a:r>
              <a:rPr lang="en-US" sz="1200" dirty="0">
                <a:solidFill>
                  <a:srgbClr val="31313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  &lt;color&gt;#0097A9&lt;/color&gt;</a:t>
            </a:r>
          </a:p>
          <a:p>
            <a:pPr>
              <a:spcBef>
                <a:spcPts val="600"/>
              </a:spcBef>
              <a:buSzPct val="100000"/>
            </a:pPr>
            <a:r>
              <a:rPr lang="en-US" sz="1200" dirty="0">
                <a:solidFill>
                  <a:srgbClr val="31313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  &lt;color&gt;#BFA3DC&lt;/color&gt;</a:t>
            </a:r>
          </a:p>
          <a:p>
            <a:pPr>
              <a:spcBef>
                <a:spcPts val="600"/>
              </a:spcBef>
              <a:buSzPct val="100000"/>
            </a:pPr>
            <a:r>
              <a:rPr lang="en-US" sz="1200" dirty="0">
                <a:solidFill>
                  <a:srgbClr val="31313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  &lt;color&gt;#8661A8&lt;/color&gt;</a:t>
            </a:r>
          </a:p>
          <a:p>
            <a:pPr>
              <a:spcBef>
                <a:spcPts val="600"/>
              </a:spcBef>
              <a:buSzPct val="100000"/>
            </a:pPr>
            <a:r>
              <a:rPr lang="en-US" sz="1200" dirty="0">
                <a:solidFill>
                  <a:srgbClr val="31313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  &lt;color&gt;#EEDE8B&lt;/color&gt;</a:t>
            </a:r>
          </a:p>
          <a:p>
            <a:pPr>
              <a:spcBef>
                <a:spcPts val="600"/>
              </a:spcBef>
              <a:buSzPct val="100000"/>
            </a:pPr>
            <a:r>
              <a:rPr lang="en-US" sz="1200" dirty="0">
                <a:solidFill>
                  <a:srgbClr val="31313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  &lt;color&gt;#FBBB18&lt;/color&gt;</a:t>
            </a:r>
          </a:p>
          <a:p>
            <a:pPr>
              <a:spcBef>
                <a:spcPts val="600"/>
              </a:spcBef>
              <a:buSzPct val="100000"/>
            </a:pPr>
            <a:r>
              <a:rPr lang="en-US" sz="1200" dirty="0">
                <a:solidFill>
                  <a:srgbClr val="31313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&lt;/color-palette&gt;</a:t>
            </a:r>
          </a:p>
          <a:p>
            <a:pPr>
              <a:spcBef>
                <a:spcPts val="600"/>
              </a:spcBef>
              <a:buSzPct val="100000"/>
            </a:pP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&lt;/preferences&gt;</a:t>
            </a:r>
          </a:p>
          <a:p>
            <a:pPr>
              <a:spcBef>
                <a:spcPts val="600"/>
              </a:spcBef>
              <a:buSzPct val="100000"/>
            </a:pP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&lt;/workbook&gt;</a:t>
            </a:r>
          </a:p>
        </p:txBody>
      </p:sp>
    </p:spTree>
    <p:extLst>
      <p:ext uri="{BB962C8B-B14F-4D97-AF65-F5344CB8AC3E}">
        <p14:creationId xmlns:p14="http://schemas.microsoft.com/office/powerpoint/2010/main" val="656993381"/>
      </p:ext>
    </p:extLst>
  </p:cSld>
  <p:clrMapOvr>
    <a:masterClrMapping/>
  </p:clrMapOvr>
  <p:transition>
    <p:fade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5DAED6B1-6292-6247-980F-02C1909970F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9900" y="736689"/>
            <a:ext cx="11252200" cy="283090"/>
          </a:xfrm>
        </p:spPr>
        <p:txBody>
          <a:bodyPr/>
          <a:lstStyle/>
          <a:p>
            <a:r>
              <a:rPr lang="en-US" sz="1200" dirty="0"/>
              <a:t>Custom settings for workbook development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3EC109-DCC4-D84A-96DD-9E1DD06C1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3563"/>
          </a:xfrm>
        </p:spPr>
        <p:txBody>
          <a:bodyPr/>
          <a:lstStyle/>
          <a:p>
            <a:r>
              <a:rPr lang="en-US" b="1" spc="0" dirty="0"/>
              <a:t>Tableau Customization | </a:t>
            </a:r>
            <a:r>
              <a:rPr lang="en-US" dirty="0"/>
              <a:t>Typography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E6DFAAE-C9C6-9D46-B795-9BC79C578A16}"/>
              </a:ext>
            </a:extLst>
          </p:cNvPr>
          <p:cNvGrpSpPr/>
          <p:nvPr/>
        </p:nvGrpSpPr>
        <p:grpSpPr>
          <a:xfrm>
            <a:off x="10272038" y="173150"/>
            <a:ext cx="1632640" cy="366837"/>
            <a:chOff x="10272038" y="173150"/>
            <a:chExt cx="1632640" cy="366837"/>
          </a:xfrm>
        </p:grpSpPr>
        <p:grpSp>
          <p:nvGrpSpPr>
            <p:cNvPr id="7" name="Group 53">
              <a:extLst>
                <a:ext uri="{FF2B5EF4-FFF2-40B4-BE49-F238E27FC236}">
                  <a16:creationId xmlns:a16="http://schemas.microsoft.com/office/drawing/2014/main" id="{6C2C28C1-636A-1340-B840-A66A9F1DF6AB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0272038" y="173150"/>
              <a:ext cx="365760" cy="366837"/>
              <a:chOff x="5183" y="1046"/>
              <a:chExt cx="340" cy="341"/>
            </a:xfrm>
            <a:solidFill>
              <a:schemeClr val="bg1">
                <a:lumMod val="75000"/>
              </a:schemeClr>
            </a:solidFill>
          </p:grpSpPr>
          <p:sp>
            <p:nvSpPr>
              <p:cNvPr id="17" name="Freeform 54">
                <a:extLst>
                  <a:ext uri="{FF2B5EF4-FFF2-40B4-BE49-F238E27FC236}">
                    <a16:creationId xmlns:a16="http://schemas.microsoft.com/office/drawing/2014/main" id="{B3E3306A-20E7-4246-B14C-099787069D1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47" y="1110"/>
                <a:ext cx="212" cy="213"/>
              </a:xfrm>
              <a:custGeom>
                <a:avLst/>
                <a:gdLst>
                  <a:gd name="T0" fmla="*/ 160 w 320"/>
                  <a:gd name="T1" fmla="*/ 0 h 320"/>
                  <a:gd name="T2" fmla="*/ 0 w 320"/>
                  <a:gd name="T3" fmla="*/ 160 h 320"/>
                  <a:gd name="T4" fmla="*/ 160 w 320"/>
                  <a:gd name="T5" fmla="*/ 320 h 320"/>
                  <a:gd name="T6" fmla="*/ 320 w 320"/>
                  <a:gd name="T7" fmla="*/ 160 h 320"/>
                  <a:gd name="T8" fmla="*/ 160 w 320"/>
                  <a:gd name="T9" fmla="*/ 0 h 320"/>
                  <a:gd name="T10" fmla="*/ 283 w 320"/>
                  <a:gd name="T11" fmla="*/ 224 h 320"/>
                  <a:gd name="T12" fmla="*/ 218 w 320"/>
                  <a:gd name="T13" fmla="*/ 224 h 320"/>
                  <a:gd name="T14" fmla="*/ 223 w 320"/>
                  <a:gd name="T15" fmla="*/ 170 h 320"/>
                  <a:gd name="T16" fmla="*/ 298 w 320"/>
                  <a:gd name="T17" fmla="*/ 170 h 320"/>
                  <a:gd name="T18" fmla="*/ 283 w 320"/>
                  <a:gd name="T19" fmla="*/ 224 h 320"/>
                  <a:gd name="T20" fmla="*/ 160 w 320"/>
                  <a:gd name="T21" fmla="*/ 298 h 320"/>
                  <a:gd name="T22" fmla="*/ 127 w 320"/>
                  <a:gd name="T23" fmla="*/ 245 h 320"/>
                  <a:gd name="T24" fmla="*/ 192 w 320"/>
                  <a:gd name="T25" fmla="*/ 245 h 320"/>
                  <a:gd name="T26" fmla="*/ 160 w 320"/>
                  <a:gd name="T27" fmla="*/ 298 h 320"/>
                  <a:gd name="T28" fmla="*/ 122 w 320"/>
                  <a:gd name="T29" fmla="*/ 224 h 320"/>
                  <a:gd name="T30" fmla="*/ 117 w 320"/>
                  <a:gd name="T31" fmla="*/ 170 h 320"/>
                  <a:gd name="T32" fmla="*/ 202 w 320"/>
                  <a:gd name="T33" fmla="*/ 170 h 320"/>
                  <a:gd name="T34" fmla="*/ 197 w 320"/>
                  <a:gd name="T35" fmla="*/ 224 h 320"/>
                  <a:gd name="T36" fmla="*/ 122 w 320"/>
                  <a:gd name="T37" fmla="*/ 224 h 320"/>
                  <a:gd name="T38" fmla="*/ 22 w 320"/>
                  <a:gd name="T39" fmla="*/ 170 h 320"/>
                  <a:gd name="T40" fmla="*/ 96 w 320"/>
                  <a:gd name="T41" fmla="*/ 170 h 320"/>
                  <a:gd name="T42" fmla="*/ 101 w 320"/>
                  <a:gd name="T43" fmla="*/ 224 h 320"/>
                  <a:gd name="T44" fmla="*/ 37 w 320"/>
                  <a:gd name="T45" fmla="*/ 224 h 320"/>
                  <a:gd name="T46" fmla="*/ 22 w 320"/>
                  <a:gd name="T47" fmla="*/ 170 h 320"/>
                  <a:gd name="T48" fmla="*/ 37 w 320"/>
                  <a:gd name="T49" fmla="*/ 96 h 320"/>
                  <a:gd name="T50" fmla="*/ 101 w 320"/>
                  <a:gd name="T51" fmla="*/ 96 h 320"/>
                  <a:gd name="T52" fmla="*/ 96 w 320"/>
                  <a:gd name="T53" fmla="*/ 149 h 320"/>
                  <a:gd name="T54" fmla="*/ 22 w 320"/>
                  <a:gd name="T55" fmla="*/ 149 h 320"/>
                  <a:gd name="T56" fmla="*/ 37 w 320"/>
                  <a:gd name="T57" fmla="*/ 96 h 320"/>
                  <a:gd name="T58" fmla="*/ 160 w 320"/>
                  <a:gd name="T59" fmla="*/ 21 h 320"/>
                  <a:gd name="T60" fmla="*/ 192 w 320"/>
                  <a:gd name="T61" fmla="*/ 74 h 320"/>
                  <a:gd name="T62" fmla="*/ 127 w 320"/>
                  <a:gd name="T63" fmla="*/ 74 h 320"/>
                  <a:gd name="T64" fmla="*/ 160 w 320"/>
                  <a:gd name="T65" fmla="*/ 21 h 320"/>
                  <a:gd name="T66" fmla="*/ 197 w 320"/>
                  <a:gd name="T67" fmla="*/ 96 h 320"/>
                  <a:gd name="T68" fmla="*/ 202 w 320"/>
                  <a:gd name="T69" fmla="*/ 149 h 320"/>
                  <a:gd name="T70" fmla="*/ 117 w 320"/>
                  <a:gd name="T71" fmla="*/ 149 h 320"/>
                  <a:gd name="T72" fmla="*/ 122 w 320"/>
                  <a:gd name="T73" fmla="*/ 96 h 320"/>
                  <a:gd name="T74" fmla="*/ 197 w 320"/>
                  <a:gd name="T75" fmla="*/ 96 h 320"/>
                  <a:gd name="T76" fmla="*/ 223 w 320"/>
                  <a:gd name="T77" fmla="*/ 149 h 320"/>
                  <a:gd name="T78" fmla="*/ 218 w 320"/>
                  <a:gd name="T79" fmla="*/ 96 h 320"/>
                  <a:gd name="T80" fmla="*/ 283 w 320"/>
                  <a:gd name="T81" fmla="*/ 96 h 320"/>
                  <a:gd name="T82" fmla="*/ 298 w 320"/>
                  <a:gd name="T83" fmla="*/ 149 h 320"/>
                  <a:gd name="T84" fmla="*/ 223 w 320"/>
                  <a:gd name="T85" fmla="*/ 149 h 320"/>
                  <a:gd name="T86" fmla="*/ 269 w 320"/>
                  <a:gd name="T87" fmla="*/ 74 h 320"/>
                  <a:gd name="T88" fmla="*/ 214 w 320"/>
                  <a:gd name="T89" fmla="*/ 74 h 320"/>
                  <a:gd name="T90" fmla="*/ 196 w 320"/>
                  <a:gd name="T91" fmla="*/ 26 h 320"/>
                  <a:gd name="T92" fmla="*/ 269 w 320"/>
                  <a:gd name="T93" fmla="*/ 74 h 320"/>
                  <a:gd name="T94" fmla="*/ 124 w 320"/>
                  <a:gd name="T95" fmla="*/ 26 h 320"/>
                  <a:gd name="T96" fmla="*/ 105 w 320"/>
                  <a:gd name="T97" fmla="*/ 74 h 320"/>
                  <a:gd name="T98" fmla="*/ 51 w 320"/>
                  <a:gd name="T99" fmla="*/ 74 h 320"/>
                  <a:gd name="T100" fmla="*/ 124 w 320"/>
                  <a:gd name="T101" fmla="*/ 26 h 320"/>
                  <a:gd name="T102" fmla="*/ 51 w 320"/>
                  <a:gd name="T103" fmla="*/ 245 h 320"/>
                  <a:gd name="T104" fmla="*/ 105 w 320"/>
                  <a:gd name="T105" fmla="*/ 245 h 320"/>
                  <a:gd name="T106" fmla="*/ 124 w 320"/>
                  <a:gd name="T107" fmla="*/ 293 h 320"/>
                  <a:gd name="T108" fmla="*/ 51 w 320"/>
                  <a:gd name="T109" fmla="*/ 245 h 320"/>
                  <a:gd name="T110" fmla="*/ 196 w 320"/>
                  <a:gd name="T111" fmla="*/ 293 h 320"/>
                  <a:gd name="T112" fmla="*/ 214 w 320"/>
                  <a:gd name="T113" fmla="*/ 245 h 320"/>
                  <a:gd name="T114" fmla="*/ 269 w 320"/>
                  <a:gd name="T115" fmla="*/ 245 h 320"/>
                  <a:gd name="T116" fmla="*/ 196 w 320"/>
                  <a:gd name="T117" fmla="*/ 293 h 3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320" h="320">
                    <a:moveTo>
                      <a:pt x="160" y="0"/>
                    </a:moveTo>
                    <a:cubicBezTo>
                      <a:pt x="71" y="0"/>
                      <a:pt x="0" y="71"/>
                      <a:pt x="0" y="160"/>
                    </a:cubicBezTo>
                    <a:cubicBezTo>
                      <a:pt x="0" y="248"/>
                      <a:pt x="71" y="320"/>
                      <a:pt x="160" y="320"/>
                    </a:cubicBezTo>
                    <a:cubicBezTo>
                      <a:pt x="248" y="320"/>
                      <a:pt x="320" y="248"/>
                      <a:pt x="320" y="160"/>
                    </a:cubicBezTo>
                    <a:cubicBezTo>
                      <a:pt x="320" y="71"/>
                      <a:pt x="248" y="0"/>
                      <a:pt x="160" y="0"/>
                    </a:cubicBezTo>
                    <a:close/>
                    <a:moveTo>
                      <a:pt x="283" y="224"/>
                    </a:moveTo>
                    <a:cubicBezTo>
                      <a:pt x="218" y="224"/>
                      <a:pt x="218" y="224"/>
                      <a:pt x="218" y="224"/>
                    </a:cubicBezTo>
                    <a:cubicBezTo>
                      <a:pt x="221" y="207"/>
                      <a:pt x="223" y="188"/>
                      <a:pt x="223" y="170"/>
                    </a:cubicBezTo>
                    <a:cubicBezTo>
                      <a:pt x="298" y="170"/>
                      <a:pt x="298" y="170"/>
                      <a:pt x="298" y="170"/>
                    </a:cubicBezTo>
                    <a:cubicBezTo>
                      <a:pt x="296" y="189"/>
                      <a:pt x="291" y="207"/>
                      <a:pt x="283" y="224"/>
                    </a:cubicBezTo>
                    <a:close/>
                    <a:moveTo>
                      <a:pt x="160" y="298"/>
                    </a:moveTo>
                    <a:cubicBezTo>
                      <a:pt x="149" y="298"/>
                      <a:pt x="136" y="279"/>
                      <a:pt x="127" y="245"/>
                    </a:cubicBezTo>
                    <a:cubicBezTo>
                      <a:pt x="192" y="245"/>
                      <a:pt x="192" y="245"/>
                      <a:pt x="192" y="245"/>
                    </a:cubicBezTo>
                    <a:cubicBezTo>
                      <a:pt x="183" y="279"/>
                      <a:pt x="170" y="298"/>
                      <a:pt x="160" y="298"/>
                    </a:cubicBezTo>
                    <a:close/>
                    <a:moveTo>
                      <a:pt x="122" y="224"/>
                    </a:moveTo>
                    <a:cubicBezTo>
                      <a:pt x="120" y="208"/>
                      <a:pt x="118" y="190"/>
                      <a:pt x="117" y="170"/>
                    </a:cubicBezTo>
                    <a:cubicBezTo>
                      <a:pt x="202" y="170"/>
                      <a:pt x="202" y="170"/>
                      <a:pt x="202" y="170"/>
                    </a:cubicBezTo>
                    <a:cubicBezTo>
                      <a:pt x="202" y="190"/>
                      <a:pt x="200" y="208"/>
                      <a:pt x="197" y="224"/>
                    </a:cubicBezTo>
                    <a:lnTo>
                      <a:pt x="122" y="224"/>
                    </a:lnTo>
                    <a:close/>
                    <a:moveTo>
                      <a:pt x="22" y="170"/>
                    </a:moveTo>
                    <a:cubicBezTo>
                      <a:pt x="96" y="170"/>
                      <a:pt x="96" y="170"/>
                      <a:pt x="96" y="170"/>
                    </a:cubicBezTo>
                    <a:cubicBezTo>
                      <a:pt x="96" y="188"/>
                      <a:pt x="98" y="207"/>
                      <a:pt x="101" y="224"/>
                    </a:cubicBezTo>
                    <a:cubicBezTo>
                      <a:pt x="37" y="224"/>
                      <a:pt x="37" y="224"/>
                      <a:pt x="37" y="224"/>
                    </a:cubicBezTo>
                    <a:cubicBezTo>
                      <a:pt x="28" y="207"/>
                      <a:pt x="23" y="189"/>
                      <a:pt x="22" y="170"/>
                    </a:cubicBezTo>
                    <a:close/>
                    <a:moveTo>
                      <a:pt x="37" y="96"/>
                    </a:moveTo>
                    <a:cubicBezTo>
                      <a:pt x="101" y="96"/>
                      <a:pt x="101" y="96"/>
                      <a:pt x="101" y="96"/>
                    </a:cubicBezTo>
                    <a:cubicBezTo>
                      <a:pt x="98" y="113"/>
                      <a:pt x="96" y="131"/>
                      <a:pt x="96" y="149"/>
                    </a:cubicBezTo>
                    <a:cubicBezTo>
                      <a:pt x="22" y="149"/>
                      <a:pt x="22" y="149"/>
                      <a:pt x="22" y="149"/>
                    </a:cubicBezTo>
                    <a:cubicBezTo>
                      <a:pt x="23" y="130"/>
                      <a:pt x="28" y="112"/>
                      <a:pt x="37" y="96"/>
                    </a:cubicBezTo>
                    <a:close/>
                    <a:moveTo>
                      <a:pt x="160" y="21"/>
                    </a:moveTo>
                    <a:cubicBezTo>
                      <a:pt x="170" y="21"/>
                      <a:pt x="183" y="41"/>
                      <a:pt x="192" y="74"/>
                    </a:cubicBezTo>
                    <a:cubicBezTo>
                      <a:pt x="127" y="74"/>
                      <a:pt x="127" y="74"/>
                      <a:pt x="127" y="74"/>
                    </a:cubicBezTo>
                    <a:cubicBezTo>
                      <a:pt x="136" y="41"/>
                      <a:pt x="149" y="21"/>
                      <a:pt x="160" y="21"/>
                    </a:cubicBezTo>
                    <a:close/>
                    <a:moveTo>
                      <a:pt x="197" y="96"/>
                    </a:moveTo>
                    <a:cubicBezTo>
                      <a:pt x="200" y="111"/>
                      <a:pt x="202" y="129"/>
                      <a:pt x="202" y="149"/>
                    </a:cubicBezTo>
                    <a:cubicBezTo>
                      <a:pt x="117" y="149"/>
                      <a:pt x="117" y="149"/>
                      <a:pt x="117" y="149"/>
                    </a:cubicBezTo>
                    <a:cubicBezTo>
                      <a:pt x="118" y="129"/>
                      <a:pt x="120" y="111"/>
                      <a:pt x="122" y="96"/>
                    </a:cubicBezTo>
                    <a:lnTo>
                      <a:pt x="197" y="96"/>
                    </a:lnTo>
                    <a:close/>
                    <a:moveTo>
                      <a:pt x="223" y="149"/>
                    </a:moveTo>
                    <a:cubicBezTo>
                      <a:pt x="223" y="131"/>
                      <a:pt x="221" y="113"/>
                      <a:pt x="218" y="96"/>
                    </a:cubicBezTo>
                    <a:cubicBezTo>
                      <a:pt x="283" y="96"/>
                      <a:pt x="283" y="96"/>
                      <a:pt x="283" y="96"/>
                    </a:cubicBezTo>
                    <a:cubicBezTo>
                      <a:pt x="291" y="112"/>
                      <a:pt x="296" y="130"/>
                      <a:pt x="298" y="149"/>
                    </a:cubicBezTo>
                    <a:lnTo>
                      <a:pt x="223" y="149"/>
                    </a:lnTo>
                    <a:close/>
                    <a:moveTo>
                      <a:pt x="269" y="74"/>
                    </a:moveTo>
                    <a:cubicBezTo>
                      <a:pt x="214" y="74"/>
                      <a:pt x="214" y="74"/>
                      <a:pt x="214" y="74"/>
                    </a:cubicBezTo>
                    <a:cubicBezTo>
                      <a:pt x="210" y="55"/>
                      <a:pt x="203" y="39"/>
                      <a:pt x="196" y="26"/>
                    </a:cubicBezTo>
                    <a:cubicBezTo>
                      <a:pt x="225" y="34"/>
                      <a:pt x="251" y="51"/>
                      <a:pt x="269" y="74"/>
                    </a:cubicBezTo>
                    <a:close/>
                    <a:moveTo>
                      <a:pt x="124" y="26"/>
                    </a:moveTo>
                    <a:cubicBezTo>
                      <a:pt x="116" y="39"/>
                      <a:pt x="110" y="55"/>
                      <a:pt x="105" y="74"/>
                    </a:cubicBezTo>
                    <a:cubicBezTo>
                      <a:pt x="51" y="74"/>
                      <a:pt x="51" y="74"/>
                      <a:pt x="51" y="74"/>
                    </a:cubicBezTo>
                    <a:cubicBezTo>
                      <a:pt x="69" y="51"/>
                      <a:pt x="94" y="34"/>
                      <a:pt x="124" y="26"/>
                    </a:cubicBezTo>
                    <a:close/>
                    <a:moveTo>
                      <a:pt x="51" y="245"/>
                    </a:moveTo>
                    <a:cubicBezTo>
                      <a:pt x="105" y="245"/>
                      <a:pt x="105" y="245"/>
                      <a:pt x="105" y="245"/>
                    </a:cubicBezTo>
                    <a:cubicBezTo>
                      <a:pt x="110" y="264"/>
                      <a:pt x="116" y="281"/>
                      <a:pt x="124" y="293"/>
                    </a:cubicBezTo>
                    <a:cubicBezTo>
                      <a:pt x="94" y="285"/>
                      <a:pt x="69" y="268"/>
                      <a:pt x="51" y="245"/>
                    </a:cubicBezTo>
                    <a:close/>
                    <a:moveTo>
                      <a:pt x="196" y="293"/>
                    </a:moveTo>
                    <a:cubicBezTo>
                      <a:pt x="203" y="281"/>
                      <a:pt x="210" y="264"/>
                      <a:pt x="214" y="245"/>
                    </a:cubicBezTo>
                    <a:cubicBezTo>
                      <a:pt x="269" y="245"/>
                      <a:pt x="269" y="245"/>
                      <a:pt x="269" y="245"/>
                    </a:cubicBezTo>
                    <a:cubicBezTo>
                      <a:pt x="251" y="268"/>
                      <a:pt x="225" y="285"/>
                      <a:pt x="196" y="29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" name="Freeform 55">
                <a:extLst>
                  <a:ext uri="{FF2B5EF4-FFF2-40B4-BE49-F238E27FC236}">
                    <a16:creationId xmlns:a16="http://schemas.microsoft.com/office/drawing/2014/main" id="{C6023F7A-281F-C844-BA27-C60AACC50B4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83" y="1046"/>
                <a:ext cx="340" cy="341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A6030B49-ABBA-714D-8A34-EC40E7E014FC}"/>
                </a:ext>
              </a:extLst>
            </p:cNvPr>
            <p:cNvGrpSpPr/>
            <p:nvPr/>
          </p:nvGrpSpPr>
          <p:grpSpPr>
            <a:xfrm>
              <a:off x="11116624" y="173688"/>
              <a:ext cx="365760" cy="365760"/>
              <a:chOff x="6806797" y="2076826"/>
              <a:chExt cx="685804" cy="685804"/>
            </a:xfrm>
            <a:solidFill>
              <a:schemeClr val="bg1">
                <a:lumMod val="75000"/>
              </a:schemeClr>
            </a:solidFill>
          </p:grpSpPr>
          <p:sp>
            <p:nvSpPr>
              <p:cNvPr id="15" name="Freeform 623">
                <a:extLst>
                  <a:ext uri="{FF2B5EF4-FFF2-40B4-BE49-F238E27FC236}">
                    <a16:creationId xmlns:a16="http://schemas.microsoft.com/office/drawing/2014/main" id="{A4FD5118-54E1-AB45-A285-8EC74B0C2A0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06797" y="2076826"/>
                <a:ext cx="685804" cy="685804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pic>
            <p:nvPicPr>
              <p:cNvPr id="16" name="Graphic 15" descr="Target">
                <a:extLst>
                  <a:ext uri="{FF2B5EF4-FFF2-40B4-BE49-F238E27FC236}">
                    <a16:creationId xmlns:a16="http://schemas.microsoft.com/office/drawing/2014/main" id="{F49CF584-F4A5-1646-8AF3-B500F507B81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6852519" y="2122548"/>
                <a:ext cx="594360" cy="594360"/>
              </a:xfrm>
              <a:prstGeom prst="rect">
                <a:avLst/>
              </a:prstGeom>
            </p:spPr>
          </p:pic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7F71AAC5-B834-D242-BB6F-8A482CE61E94}"/>
                </a:ext>
              </a:extLst>
            </p:cNvPr>
            <p:cNvGrpSpPr/>
            <p:nvPr/>
          </p:nvGrpSpPr>
          <p:grpSpPr>
            <a:xfrm>
              <a:off x="11538918" y="173688"/>
              <a:ext cx="365760" cy="365760"/>
              <a:chOff x="6806753" y="3091011"/>
              <a:chExt cx="685800" cy="685800"/>
            </a:xfrm>
            <a:solidFill>
              <a:schemeClr val="bg1">
                <a:lumMod val="75000"/>
              </a:schemeClr>
            </a:solidFill>
          </p:grpSpPr>
          <p:sp>
            <p:nvSpPr>
              <p:cNvPr id="13" name="Freeform 727">
                <a:extLst>
                  <a:ext uri="{FF2B5EF4-FFF2-40B4-BE49-F238E27FC236}">
                    <a16:creationId xmlns:a16="http://schemas.microsoft.com/office/drawing/2014/main" id="{EB066332-9C45-C14B-878C-C484243F361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06753" y="3091011"/>
                <a:ext cx="685800" cy="685800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pic>
            <p:nvPicPr>
              <p:cNvPr id="14" name="Graphic 13" descr="Head with gears">
                <a:extLst>
                  <a:ext uri="{FF2B5EF4-FFF2-40B4-BE49-F238E27FC236}">
                    <a16:creationId xmlns:a16="http://schemas.microsoft.com/office/drawing/2014/main" id="{4B6CB2A0-BC97-DA40-A5FE-F028EA0A512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6932592" y="3216850"/>
                <a:ext cx="434123" cy="434123"/>
              </a:xfrm>
              <a:prstGeom prst="rect">
                <a:avLst/>
              </a:prstGeom>
            </p:spPr>
          </p:pic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BF1345B2-7AD3-6A47-B893-68DE43D819F9}"/>
                </a:ext>
              </a:extLst>
            </p:cNvPr>
            <p:cNvGrpSpPr/>
            <p:nvPr/>
          </p:nvGrpSpPr>
          <p:grpSpPr>
            <a:xfrm>
              <a:off x="10694331" y="173688"/>
              <a:ext cx="365760" cy="365760"/>
              <a:chOff x="6806753" y="2142199"/>
              <a:chExt cx="685804" cy="685804"/>
            </a:xfrm>
          </p:grpSpPr>
          <p:sp>
            <p:nvSpPr>
              <p:cNvPr id="11" name="Freeform 623">
                <a:extLst>
                  <a:ext uri="{FF2B5EF4-FFF2-40B4-BE49-F238E27FC236}">
                    <a16:creationId xmlns:a16="http://schemas.microsoft.com/office/drawing/2014/main" id="{15FD7F61-1750-854A-9E62-FE580DC1D5E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06753" y="2142199"/>
                <a:ext cx="685804" cy="685804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solidFill>
                <a:srgbClr val="36B9E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pic>
            <p:nvPicPr>
              <p:cNvPr id="12" name="Graphic 11" descr="Badge Tick outline">
                <a:extLst>
                  <a:ext uri="{FF2B5EF4-FFF2-40B4-BE49-F238E27FC236}">
                    <a16:creationId xmlns:a16="http://schemas.microsoft.com/office/drawing/2014/main" id="{32933E97-681E-AD44-99AA-4FDAFC6D4F0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6834429" y="2170883"/>
                <a:ext cx="628436" cy="628436"/>
              </a:xfrm>
              <a:prstGeom prst="rect">
                <a:avLst/>
              </a:prstGeom>
            </p:spPr>
          </p:pic>
        </p:grpSp>
      </p:grpSp>
      <p:sp>
        <p:nvSpPr>
          <p:cNvPr id="23" name="Content Placeholder 1">
            <a:extLst>
              <a:ext uri="{FF2B5EF4-FFF2-40B4-BE49-F238E27FC236}">
                <a16:creationId xmlns:a16="http://schemas.microsoft.com/office/drawing/2014/main" id="{BEE15851-939A-1A44-A774-AF03855559D8}"/>
              </a:ext>
            </a:extLst>
          </p:cNvPr>
          <p:cNvSpPr txBox="1">
            <a:spLocks/>
          </p:cNvSpPr>
          <p:nvPr/>
        </p:nvSpPr>
        <p:spPr>
          <a:xfrm>
            <a:off x="464998" y="1676400"/>
            <a:ext cx="2397946" cy="4705351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 spc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spc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spc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spc="0" baseline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spc="0" baseline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Navigate to the Format tab &gt; Format Workbook to make universal typographic changes to the notebook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1" dirty="0"/>
              <a:t>Note: User must have Open Sans Regular and Bold fonts installed on their local device in order to view or edit the workbook properly. </a:t>
            </a:r>
            <a:r>
              <a:rPr lang="en-US" dirty="0"/>
              <a:t>(This also applies to previewing the workbook on the server.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BF9A7E20-C5DD-2A4A-9E70-AA50A0E9B7BA}"/>
              </a:ext>
            </a:extLst>
          </p:cNvPr>
          <p:cNvSpPr txBox="1">
            <a:spLocks/>
          </p:cNvSpPr>
          <p:nvPr/>
        </p:nvSpPr>
        <p:spPr>
          <a:xfrm>
            <a:off x="469900" y="1127760"/>
            <a:ext cx="2393043" cy="548640"/>
          </a:xfrm>
          <a:prstGeom prst="rect">
            <a:avLst/>
          </a:prstGeom>
          <a:solidFill>
            <a:srgbClr val="7ACAEE"/>
          </a:solidFill>
        </p:spPr>
        <p:txBody>
          <a:bodyPr anchor="ctr"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 spc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spc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spc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spc="0" baseline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spc="0" baseline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/>
              <a:t>Workbook Setting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9C9326D-E974-F943-BEA7-32AF19AF58C2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657"/>
          <a:stretch/>
        </p:blipFill>
        <p:spPr>
          <a:xfrm>
            <a:off x="3032576" y="1144954"/>
            <a:ext cx="2189742" cy="5236797"/>
          </a:xfrm>
          <a:prstGeom prst="rect">
            <a:avLst/>
          </a:prstGeom>
          <a:ln>
            <a:solidFill>
              <a:schemeClr val="bg2"/>
            </a:solidFill>
          </a:ln>
        </p:spPr>
      </p:pic>
    </p:spTree>
    <p:extLst>
      <p:ext uri="{BB962C8B-B14F-4D97-AF65-F5344CB8AC3E}">
        <p14:creationId xmlns:p14="http://schemas.microsoft.com/office/powerpoint/2010/main" val="3060107867"/>
      </p:ext>
    </p:extLst>
  </p:cSld>
  <p:clrMapOvr>
    <a:masterClrMapping/>
  </p:clrMapOvr>
  <p:transition>
    <p:fade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5DAED6B1-6292-6247-980F-02C1909970F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9900" y="736689"/>
            <a:ext cx="11252200" cy="283090"/>
          </a:xfrm>
        </p:spPr>
        <p:txBody>
          <a:bodyPr/>
          <a:lstStyle/>
          <a:p>
            <a:r>
              <a:rPr lang="en-US" sz="1200" dirty="0"/>
              <a:t>Log into Snowflake from Tableau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3EC109-DCC4-D84A-96DD-9E1DD06C1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3563"/>
          </a:xfrm>
        </p:spPr>
        <p:txBody>
          <a:bodyPr/>
          <a:lstStyle/>
          <a:p>
            <a:r>
              <a:rPr lang="en-US" b="1" spc="0" dirty="0"/>
              <a:t>Connect to Data| </a:t>
            </a:r>
            <a:r>
              <a:rPr lang="en-US" spc="0" dirty="0"/>
              <a:t>Tableau</a:t>
            </a:r>
            <a:endParaRPr lang="en-US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E6DFAAE-C9C6-9D46-B795-9BC79C578A16}"/>
              </a:ext>
            </a:extLst>
          </p:cNvPr>
          <p:cNvGrpSpPr/>
          <p:nvPr/>
        </p:nvGrpSpPr>
        <p:grpSpPr>
          <a:xfrm>
            <a:off x="10272038" y="173150"/>
            <a:ext cx="1632640" cy="366837"/>
            <a:chOff x="10272038" y="173150"/>
            <a:chExt cx="1632640" cy="366837"/>
          </a:xfrm>
        </p:grpSpPr>
        <p:grpSp>
          <p:nvGrpSpPr>
            <p:cNvPr id="7" name="Group 53">
              <a:extLst>
                <a:ext uri="{FF2B5EF4-FFF2-40B4-BE49-F238E27FC236}">
                  <a16:creationId xmlns:a16="http://schemas.microsoft.com/office/drawing/2014/main" id="{6C2C28C1-636A-1340-B840-A66A9F1DF6AB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0272038" y="173150"/>
              <a:ext cx="365760" cy="366837"/>
              <a:chOff x="5183" y="1046"/>
              <a:chExt cx="340" cy="341"/>
            </a:xfrm>
            <a:solidFill>
              <a:schemeClr val="bg1">
                <a:lumMod val="75000"/>
              </a:schemeClr>
            </a:solidFill>
          </p:grpSpPr>
          <p:sp>
            <p:nvSpPr>
              <p:cNvPr id="17" name="Freeform 54">
                <a:extLst>
                  <a:ext uri="{FF2B5EF4-FFF2-40B4-BE49-F238E27FC236}">
                    <a16:creationId xmlns:a16="http://schemas.microsoft.com/office/drawing/2014/main" id="{B3E3306A-20E7-4246-B14C-099787069D1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47" y="1110"/>
                <a:ext cx="212" cy="213"/>
              </a:xfrm>
              <a:custGeom>
                <a:avLst/>
                <a:gdLst>
                  <a:gd name="T0" fmla="*/ 160 w 320"/>
                  <a:gd name="T1" fmla="*/ 0 h 320"/>
                  <a:gd name="T2" fmla="*/ 0 w 320"/>
                  <a:gd name="T3" fmla="*/ 160 h 320"/>
                  <a:gd name="T4" fmla="*/ 160 w 320"/>
                  <a:gd name="T5" fmla="*/ 320 h 320"/>
                  <a:gd name="T6" fmla="*/ 320 w 320"/>
                  <a:gd name="T7" fmla="*/ 160 h 320"/>
                  <a:gd name="T8" fmla="*/ 160 w 320"/>
                  <a:gd name="T9" fmla="*/ 0 h 320"/>
                  <a:gd name="T10" fmla="*/ 283 w 320"/>
                  <a:gd name="T11" fmla="*/ 224 h 320"/>
                  <a:gd name="T12" fmla="*/ 218 w 320"/>
                  <a:gd name="T13" fmla="*/ 224 h 320"/>
                  <a:gd name="T14" fmla="*/ 223 w 320"/>
                  <a:gd name="T15" fmla="*/ 170 h 320"/>
                  <a:gd name="T16" fmla="*/ 298 w 320"/>
                  <a:gd name="T17" fmla="*/ 170 h 320"/>
                  <a:gd name="T18" fmla="*/ 283 w 320"/>
                  <a:gd name="T19" fmla="*/ 224 h 320"/>
                  <a:gd name="T20" fmla="*/ 160 w 320"/>
                  <a:gd name="T21" fmla="*/ 298 h 320"/>
                  <a:gd name="T22" fmla="*/ 127 w 320"/>
                  <a:gd name="T23" fmla="*/ 245 h 320"/>
                  <a:gd name="T24" fmla="*/ 192 w 320"/>
                  <a:gd name="T25" fmla="*/ 245 h 320"/>
                  <a:gd name="T26" fmla="*/ 160 w 320"/>
                  <a:gd name="T27" fmla="*/ 298 h 320"/>
                  <a:gd name="T28" fmla="*/ 122 w 320"/>
                  <a:gd name="T29" fmla="*/ 224 h 320"/>
                  <a:gd name="T30" fmla="*/ 117 w 320"/>
                  <a:gd name="T31" fmla="*/ 170 h 320"/>
                  <a:gd name="T32" fmla="*/ 202 w 320"/>
                  <a:gd name="T33" fmla="*/ 170 h 320"/>
                  <a:gd name="T34" fmla="*/ 197 w 320"/>
                  <a:gd name="T35" fmla="*/ 224 h 320"/>
                  <a:gd name="T36" fmla="*/ 122 w 320"/>
                  <a:gd name="T37" fmla="*/ 224 h 320"/>
                  <a:gd name="T38" fmla="*/ 22 w 320"/>
                  <a:gd name="T39" fmla="*/ 170 h 320"/>
                  <a:gd name="T40" fmla="*/ 96 w 320"/>
                  <a:gd name="T41" fmla="*/ 170 h 320"/>
                  <a:gd name="T42" fmla="*/ 101 w 320"/>
                  <a:gd name="T43" fmla="*/ 224 h 320"/>
                  <a:gd name="T44" fmla="*/ 37 w 320"/>
                  <a:gd name="T45" fmla="*/ 224 h 320"/>
                  <a:gd name="T46" fmla="*/ 22 w 320"/>
                  <a:gd name="T47" fmla="*/ 170 h 320"/>
                  <a:gd name="T48" fmla="*/ 37 w 320"/>
                  <a:gd name="T49" fmla="*/ 96 h 320"/>
                  <a:gd name="T50" fmla="*/ 101 w 320"/>
                  <a:gd name="T51" fmla="*/ 96 h 320"/>
                  <a:gd name="T52" fmla="*/ 96 w 320"/>
                  <a:gd name="T53" fmla="*/ 149 h 320"/>
                  <a:gd name="T54" fmla="*/ 22 w 320"/>
                  <a:gd name="T55" fmla="*/ 149 h 320"/>
                  <a:gd name="T56" fmla="*/ 37 w 320"/>
                  <a:gd name="T57" fmla="*/ 96 h 320"/>
                  <a:gd name="T58" fmla="*/ 160 w 320"/>
                  <a:gd name="T59" fmla="*/ 21 h 320"/>
                  <a:gd name="T60" fmla="*/ 192 w 320"/>
                  <a:gd name="T61" fmla="*/ 74 h 320"/>
                  <a:gd name="T62" fmla="*/ 127 w 320"/>
                  <a:gd name="T63" fmla="*/ 74 h 320"/>
                  <a:gd name="T64" fmla="*/ 160 w 320"/>
                  <a:gd name="T65" fmla="*/ 21 h 320"/>
                  <a:gd name="T66" fmla="*/ 197 w 320"/>
                  <a:gd name="T67" fmla="*/ 96 h 320"/>
                  <a:gd name="T68" fmla="*/ 202 w 320"/>
                  <a:gd name="T69" fmla="*/ 149 h 320"/>
                  <a:gd name="T70" fmla="*/ 117 w 320"/>
                  <a:gd name="T71" fmla="*/ 149 h 320"/>
                  <a:gd name="T72" fmla="*/ 122 w 320"/>
                  <a:gd name="T73" fmla="*/ 96 h 320"/>
                  <a:gd name="T74" fmla="*/ 197 w 320"/>
                  <a:gd name="T75" fmla="*/ 96 h 320"/>
                  <a:gd name="T76" fmla="*/ 223 w 320"/>
                  <a:gd name="T77" fmla="*/ 149 h 320"/>
                  <a:gd name="T78" fmla="*/ 218 w 320"/>
                  <a:gd name="T79" fmla="*/ 96 h 320"/>
                  <a:gd name="T80" fmla="*/ 283 w 320"/>
                  <a:gd name="T81" fmla="*/ 96 h 320"/>
                  <a:gd name="T82" fmla="*/ 298 w 320"/>
                  <a:gd name="T83" fmla="*/ 149 h 320"/>
                  <a:gd name="T84" fmla="*/ 223 w 320"/>
                  <a:gd name="T85" fmla="*/ 149 h 320"/>
                  <a:gd name="T86" fmla="*/ 269 w 320"/>
                  <a:gd name="T87" fmla="*/ 74 h 320"/>
                  <a:gd name="T88" fmla="*/ 214 w 320"/>
                  <a:gd name="T89" fmla="*/ 74 h 320"/>
                  <a:gd name="T90" fmla="*/ 196 w 320"/>
                  <a:gd name="T91" fmla="*/ 26 h 320"/>
                  <a:gd name="T92" fmla="*/ 269 w 320"/>
                  <a:gd name="T93" fmla="*/ 74 h 320"/>
                  <a:gd name="T94" fmla="*/ 124 w 320"/>
                  <a:gd name="T95" fmla="*/ 26 h 320"/>
                  <a:gd name="T96" fmla="*/ 105 w 320"/>
                  <a:gd name="T97" fmla="*/ 74 h 320"/>
                  <a:gd name="T98" fmla="*/ 51 w 320"/>
                  <a:gd name="T99" fmla="*/ 74 h 320"/>
                  <a:gd name="T100" fmla="*/ 124 w 320"/>
                  <a:gd name="T101" fmla="*/ 26 h 320"/>
                  <a:gd name="T102" fmla="*/ 51 w 320"/>
                  <a:gd name="T103" fmla="*/ 245 h 320"/>
                  <a:gd name="T104" fmla="*/ 105 w 320"/>
                  <a:gd name="T105" fmla="*/ 245 h 320"/>
                  <a:gd name="T106" fmla="*/ 124 w 320"/>
                  <a:gd name="T107" fmla="*/ 293 h 320"/>
                  <a:gd name="T108" fmla="*/ 51 w 320"/>
                  <a:gd name="T109" fmla="*/ 245 h 320"/>
                  <a:gd name="T110" fmla="*/ 196 w 320"/>
                  <a:gd name="T111" fmla="*/ 293 h 320"/>
                  <a:gd name="T112" fmla="*/ 214 w 320"/>
                  <a:gd name="T113" fmla="*/ 245 h 320"/>
                  <a:gd name="T114" fmla="*/ 269 w 320"/>
                  <a:gd name="T115" fmla="*/ 245 h 320"/>
                  <a:gd name="T116" fmla="*/ 196 w 320"/>
                  <a:gd name="T117" fmla="*/ 293 h 3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320" h="320">
                    <a:moveTo>
                      <a:pt x="160" y="0"/>
                    </a:moveTo>
                    <a:cubicBezTo>
                      <a:pt x="71" y="0"/>
                      <a:pt x="0" y="71"/>
                      <a:pt x="0" y="160"/>
                    </a:cubicBezTo>
                    <a:cubicBezTo>
                      <a:pt x="0" y="248"/>
                      <a:pt x="71" y="320"/>
                      <a:pt x="160" y="320"/>
                    </a:cubicBezTo>
                    <a:cubicBezTo>
                      <a:pt x="248" y="320"/>
                      <a:pt x="320" y="248"/>
                      <a:pt x="320" y="160"/>
                    </a:cubicBezTo>
                    <a:cubicBezTo>
                      <a:pt x="320" y="71"/>
                      <a:pt x="248" y="0"/>
                      <a:pt x="160" y="0"/>
                    </a:cubicBezTo>
                    <a:close/>
                    <a:moveTo>
                      <a:pt x="283" y="224"/>
                    </a:moveTo>
                    <a:cubicBezTo>
                      <a:pt x="218" y="224"/>
                      <a:pt x="218" y="224"/>
                      <a:pt x="218" y="224"/>
                    </a:cubicBezTo>
                    <a:cubicBezTo>
                      <a:pt x="221" y="207"/>
                      <a:pt x="223" y="188"/>
                      <a:pt x="223" y="170"/>
                    </a:cubicBezTo>
                    <a:cubicBezTo>
                      <a:pt x="298" y="170"/>
                      <a:pt x="298" y="170"/>
                      <a:pt x="298" y="170"/>
                    </a:cubicBezTo>
                    <a:cubicBezTo>
                      <a:pt x="296" y="189"/>
                      <a:pt x="291" y="207"/>
                      <a:pt x="283" y="224"/>
                    </a:cubicBezTo>
                    <a:close/>
                    <a:moveTo>
                      <a:pt x="160" y="298"/>
                    </a:moveTo>
                    <a:cubicBezTo>
                      <a:pt x="149" y="298"/>
                      <a:pt x="136" y="279"/>
                      <a:pt x="127" y="245"/>
                    </a:cubicBezTo>
                    <a:cubicBezTo>
                      <a:pt x="192" y="245"/>
                      <a:pt x="192" y="245"/>
                      <a:pt x="192" y="245"/>
                    </a:cubicBezTo>
                    <a:cubicBezTo>
                      <a:pt x="183" y="279"/>
                      <a:pt x="170" y="298"/>
                      <a:pt x="160" y="298"/>
                    </a:cubicBezTo>
                    <a:close/>
                    <a:moveTo>
                      <a:pt x="122" y="224"/>
                    </a:moveTo>
                    <a:cubicBezTo>
                      <a:pt x="120" y="208"/>
                      <a:pt x="118" y="190"/>
                      <a:pt x="117" y="170"/>
                    </a:cubicBezTo>
                    <a:cubicBezTo>
                      <a:pt x="202" y="170"/>
                      <a:pt x="202" y="170"/>
                      <a:pt x="202" y="170"/>
                    </a:cubicBezTo>
                    <a:cubicBezTo>
                      <a:pt x="202" y="190"/>
                      <a:pt x="200" y="208"/>
                      <a:pt x="197" y="224"/>
                    </a:cubicBezTo>
                    <a:lnTo>
                      <a:pt x="122" y="224"/>
                    </a:lnTo>
                    <a:close/>
                    <a:moveTo>
                      <a:pt x="22" y="170"/>
                    </a:moveTo>
                    <a:cubicBezTo>
                      <a:pt x="96" y="170"/>
                      <a:pt x="96" y="170"/>
                      <a:pt x="96" y="170"/>
                    </a:cubicBezTo>
                    <a:cubicBezTo>
                      <a:pt x="96" y="188"/>
                      <a:pt x="98" y="207"/>
                      <a:pt x="101" y="224"/>
                    </a:cubicBezTo>
                    <a:cubicBezTo>
                      <a:pt x="37" y="224"/>
                      <a:pt x="37" y="224"/>
                      <a:pt x="37" y="224"/>
                    </a:cubicBezTo>
                    <a:cubicBezTo>
                      <a:pt x="28" y="207"/>
                      <a:pt x="23" y="189"/>
                      <a:pt x="22" y="170"/>
                    </a:cubicBezTo>
                    <a:close/>
                    <a:moveTo>
                      <a:pt x="37" y="96"/>
                    </a:moveTo>
                    <a:cubicBezTo>
                      <a:pt x="101" y="96"/>
                      <a:pt x="101" y="96"/>
                      <a:pt x="101" y="96"/>
                    </a:cubicBezTo>
                    <a:cubicBezTo>
                      <a:pt x="98" y="113"/>
                      <a:pt x="96" y="131"/>
                      <a:pt x="96" y="149"/>
                    </a:cubicBezTo>
                    <a:cubicBezTo>
                      <a:pt x="22" y="149"/>
                      <a:pt x="22" y="149"/>
                      <a:pt x="22" y="149"/>
                    </a:cubicBezTo>
                    <a:cubicBezTo>
                      <a:pt x="23" y="130"/>
                      <a:pt x="28" y="112"/>
                      <a:pt x="37" y="96"/>
                    </a:cubicBezTo>
                    <a:close/>
                    <a:moveTo>
                      <a:pt x="160" y="21"/>
                    </a:moveTo>
                    <a:cubicBezTo>
                      <a:pt x="170" y="21"/>
                      <a:pt x="183" y="41"/>
                      <a:pt x="192" y="74"/>
                    </a:cubicBezTo>
                    <a:cubicBezTo>
                      <a:pt x="127" y="74"/>
                      <a:pt x="127" y="74"/>
                      <a:pt x="127" y="74"/>
                    </a:cubicBezTo>
                    <a:cubicBezTo>
                      <a:pt x="136" y="41"/>
                      <a:pt x="149" y="21"/>
                      <a:pt x="160" y="21"/>
                    </a:cubicBezTo>
                    <a:close/>
                    <a:moveTo>
                      <a:pt x="197" y="96"/>
                    </a:moveTo>
                    <a:cubicBezTo>
                      <a:pt x="200" y="111"/>
                      <a:pt x="202" y="129"/>
                      <a:pt x="202" y="149"/>
                    </a:cubicBezTo>
                    <a:cubicBezTo>
                      <a:pt x="117" y="149"/>
                      <a:pt x="117" y="149"/>
                      <a:pt x="117" y="149"/>
                    </a:cubicBezTo>
                    <a:cubicBezTo>
                      <a:pt x="118" y="129"/>
                      <a:pt x="120" y="111"/>
                      <a:pt x="122" y="96"/>
                    </a:cubicBezTo>
                    <a:lnTo>
                      <a:pt x="197" y="96"/>
                    </a:lnTo>
                    <a:close/>
                    <a:moveTo>
                      <a:pt x="223" y="149"/>
                    </a:moveTo>
                    <a:cubicBezTo>
                      <a:pt x="223" y="131"/>
                      <a:pt x="221" y="113"/>
                      <a:pt x="218" y="96"/>
                    </a:cubicBezTo>
                    <a:cubicBezTo>
                      <a:pt x="283" y="96"/>
                      <a:pt x="283" y="96"/>
                      <a:pt x="283" y="96"/>
                    </a:cubicBezTo>
                    <a:cubicBezTo>
                      <a:pt x="291" y="112"/>
                      <a:pt x="296" y="130"/>
                      <a:pt x="298" y="149"/>
                    </a:cubicBezTo>
                    <a:lnTo>
                      <a:pt x="223" y="149"/>
                    </a:lnTo>
                    <a:close/>
                    <a:moveTo>
                      <a:pt x="269" y="74"/>
                    </a:moveTo>
                    <a:cubicBezTo>
                      <a:pt x="214" y="74"/>
                      <a:pt x="214" y="74"/>
                      <a:pt x="214" y="74"/>
                    </a:cubicBezTo>
                    <a:cubicBezTo>
                      <a:pt x="210" y="55"/>
                      <a:pt x="203" y="39"/>
                      <a:pt x="196" y="26"/>
                    </a:cubicBezTo>
                    <a:cubicBezTo>
                      <a:pt x="225" y="34"/>
                      <a:pt x="251" y="51"/>
                      <a:pt x="269" y="74"/>
                    </a:cubicBezTo>
                    <a:close/>
                    <a:moveTo>
                      <a:pt x="124" y="26"/>
                    </a:moveTo>
                    <a:cubicBezTo>
                      <a:pt x="116" y="39"/>
                      <a:pt x="110" y="55"/>
                      <a:pt x="105" y="74"/>
                    </a:cubicBezTo>
                    <a:cubicBezTo>
                      <a:pt x="51" y="74"/>
                      <a:pt x="51" y="74"/>
                      <a:pt x="51" y="74"/>
                    </a:cubicBezTo>
                    <a:cubicBezTo>
                      <a:pt x="69" y="51"/>
                      <a:pt x="94" y="34"/>
                      <a:pt x="124" y="26"/>
                    </a:cubicBezTo>
                    <a:close/>
                    <a:moveTo>
                      <a:pt x="51" y="245"/>
                    </a:moveTo>
                    <a:cubicBezTo>
                      <a:pt x="105" y="245"/>
                      <a:pt x="105" y="245"/>
                      <a:pt x="105" y="245"/>
                    </a:cubicBezTo>
                    <a:cubicBezTo>
                      <a:pt x="110" y="264"/>
                      <a:pt x="116" y="281"/>
                      <a:pt x="124" y="293"/>
                    </a:cubicBezTo>
                    <a:cubicBezTo>
                      <a:pt x="94" y="285"/>
                      <a:pt x="69" y="268"/>
                      <a:pt x="51" y="245"/>
                    </a:cubicBezTo>
                    <a:close/>
                    <a:moveTo>
                      <a:pt x="196" y="293"/>
                    </a:moveTo>
                    <a:cubicBezTo>
                      <a:pt x="203" y="281"/>
                      <a:pt x="210" y="264"/>
                      <a:pt x="214" y="245"/>
                    </a:cubicBezTo>
                    <a:cubicBezTo>
                      <a:pt x="269" y="245"/>
                      <a:pt x="269" y="245"/>
                      <a:pt x="269" y="245"/>
                    </a:cubicBezTo>
                    <a:cubicBezTo>
                      <a:pt x="251" y="268"/>
                      <a:pt x="225" y="285"/>
                      <a:pt x="196" y="29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" name="Freeform 55">
                <a:extLst>
                  <a:ext uri="{FF2B5EF4-FFF2-40B4-BE49-F238E27FC236}">
                    <a16:creationId xmlns:a16="http://schemas.microsoft.com/office/drawing/2014/main" id="{C6023F7A-281F-C844-BA27-C60AACC50B4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83" y="1046"/>
                <a:ext cx="340" cy="341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A6030B49-ABBA-714D-8A34-EC40E7E014FC}"/>
                </a:ext>
              </a:extLst>
            </p:cNvPr>
            <p:cNvGrpSpPr/>
            <p:nvPr/>
          </p:nvGrpSpPr>
          <p:grpSpPr>
            <a:xfrm>
              <a:off x="11116624" y="173688"/>
              <a:ext cx="365760" cy="365760"/>
              <a:chOff x="6806797" y="2076826"/>
              <a:chExt cx="685804" cy="685804"/>
            </a:xfrm>
            <a:solidFill>
              <a:schemeClr val="bg1">
                <a:lumMod val="75000"/>
              </a:schemeClr>
            </a:solidFill>
          </p:grpSpPr>
          <p:sp>
            <p:nvSpPr>
              <p:cNvPr id="15" name="Freeform 623">
                <a:extLst>
                  <a:ext uri="{FF2B5EF4-FFF2-40B4-BE49-F238E27FC236}">
                    <a16:creationId xmlns:a16="http://schemas.microsoft.com/office/drawing/2014/main" id="{A4FD5118-54E1-AB45-A285-8EC74B0C2A0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06797" y="2076826"/>
                <a:ext cx="685804" cy="685804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pic>
            <p:nvPicPr>
              <p:cNvPr id="16" name="Graphic 15" descr="Target">
                <a:extLst>
                  <a:ext uri="{FF2B5EF4-FFF2-40B4-BE49-F238E27FC236}">
                    <a16:creationId xmlns:a16="http://schemas.microsoft.com/office/drawing/2014/main" id="{F49CF584-F4A5-1646-8AF3-B500F507B81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6852519" y="2122548"/>
                <a:ext cx="594360" cy="594360"/>
              </a:xfrm>
              <a:prstGeom prst="rect">
                <a:avLst/>
              </a:prstGeom>
            </p:spPr>
          </p:pic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7F71AAC5-B834-D242-BB6F-8A482CE61E94}"/>
                </a:ext>
              </a:extLst>
            </p:cNvPr>
            <p:cNvGrpSpPr/>
            <p:nvPr/>
          </p:nvGrpSpPr>
          <p:grpSpPr>
            <a:xfrm>
              <a:off x="11538918" y="173688"/>
              <a:ext cx="365760" cy="365760"/>
              <a:chOff x="6806753" y="3091011"/>
              <a:chExt cx="685800" cy="685800"/>
            </a:xfrm>
            <a:solidFill>
              <a:schemeClr val="bg1">
                <a:lumMod val="75000"/>
              </a:schemeClr>
            </a:solidFill>
          </p:grpSpPr>
          <p:sp>
            <p:nvSpPr>
              <p:cNvPr id="13" name="Freeform 727">
                <a:extLst>
                  <a:ext uri="{FF2B5EF4-FFF2-40B4-BE49-F238E27FC236}">
                    <a16:creationId xmlns:a16="http://schemas.microsoft.com/office/drawing/2014/main" id="{EB066332-9C45-C14B-878C-C484243F361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06753" y="3091011"/>
                <a:ext cx="685800" cy="685800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pic>
            <p:nvPicPr>
              <p:cNvPr id="14" name="Graphic 13" descr="Head with gears">
                <a:extLst>
                  <a:ext uri="{FF2B5EF4-FFF2-40B4-BE49-F238E27FC236}">
                    <a16:creationId xmlns:a16="http://schemas.microsoft.com/office/drawing/2014/main" id="{4B6CB2A0-BC97-DA40-A5FE-F028EA0A512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6932592" y="3216850"/>
                <a:ext cx="434123" cy="434123"/>
              </a:xfrm>
              <a:prstGeom prst="rect">
                <a:avLst/>
              </a:prstGeom>
            </p:spPr>
          </p:pic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BF1345B2-7AD3-6A47-B893-68DE43D819F9}"/>
                </a:ext>
              </a:extLst>
            </p:cNvPr>
            <p:cNvGrpSpPr/>
            <p:nvPr/>
          </p:nvGrpSpPr>
          <p:grpSpPr>
            <a:xfrm>
              <a:off x="10694331" y="173688"/>
              <a:ext cx="365760" cy="365760"/>
              <a:chOff x="6806753" y="2142199"/>
              <a:chExt cx="685804" cy="685804"/>
            </a:xfrm>
          </p:grpSpPr>
          <p:sp>
            <p:nvSpPr>
              <p:cNvPr id="11" name="Freeform 623">
                <a:extLst>
                  <a:ext uri="{FF2B5EF4-FFF2-40B4-BE49-F238E27FC236}">
                    <a16:creationId xmlns:a16="http://schemas.microsoft.com/office/drawing/2014/main" id="{15FD7F61-1750-854A-9E62-FE580DC1D5E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06753" y="2142199"/>
                <a:ext cx="685804" cy="685804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solidFill>
                <a:srgbClr val="36B9E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pic>
            <p:nvPicPr>
              <p:cNvPr id="12" name="Graphic 11" descr="Badge Tick outline">
                <a:extLst>
                  <a:ext uri="{FF2B5EF4-FFF2-40B4-BE49-F238E27FC236}">
                    <a16:creationId xmlns:a16="http://schemas.microsoft.com/office/drawing/2014/main" id="{32933E97-681E-AD44-99AA-4FDAFC6D4F0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6834429" y="2170883"/>
                <a:ext cx="628436" cy="628436"/>
              </a:xfrm>
              <a:prstGeom prst="rect">
                <a:avLst/>
              </a:prstGeom>
            </p:spPr>
          </p:pic>
        </p:grpSp>
      </p:grpSp>
      <p:sp>
        <p:nvSpPr>
          <p:cNvPr id="23" name="Content Placeholder 1">
            <a:extLst>
              <a:ext uri="{FF2B5EF4-FFF2-40B4-BE49-F238E27FC236}">
                <a16:creationId xmlns:a16="http://schemas.microsoft.com/office/drawing/2014/main" id="{BEE15851-939A-1A44-A774-AF03855559D8}"/>
              </a:ext>
            </a:extLst>
          </p:cNvPr>
          <p:cNvSpPr txBox="1">
            <a:spLocks/>
          </p:cNvSpPr>
          <p:nvPr/>
        </p:nvSpPr>
        <p:spPr>
          <a:xfrm>
            <a:off x="464998" y="1676400"/>
            <a:ext cx="2397946" cy="4705351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 spc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spc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spc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spc="0" baseline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spc="0" baseline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By default the notebook is set to read a local csv file named “AI350_mockdata”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o read in live data, connect the notebook to Snowflake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BF9A7E20-C5DD-2A4A-9E70-AA50A0E9B7BA}"/>
              </a:ext>
            </a:extLst>
          </p:cNvPr>
          <p:cNvSpPr txBox="1">
            <a:spLocks/>
          </p:cNvSpPr>
          <p:nvPr/>
        </p:nvSpPr>
        <p:spPr>
          <a:xfrm>
            <a:off x="469900" y="1127760"/>
            <a:ext cx="2393043" cy="548640"/>
          </a:xfrm>
          <a:prstGeom prst="rect">
            <a:avLst/>
          </a:prstGeom>
          <a:solidFill>
            <a:srgbClr val="7ACAEE"/>
          </a:solidFill>
        </p:spPr>
        <p:txBody>
          <a:bodyPr anchor="ctr"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 spc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spc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spc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spc="0" baseline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spc="0" baseline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/>
              <a:t>Change Data Source</a:t>
            </a:r>
          </a:p>
        </p:txBody>
      </p:sp>
      <p:pic>
        <p:nvPicPr>
          <p:cNvPr id="4" name="Picture 3" descr="Graphical user interface, table&#10;&#10;Description automatically generated">
            <a:extLst>
              <a:ext uri="{FF2B5EF4-FFF2-40B4-BE49-F238E27FC236}">
                <a16:creationId xmlns:a16="http://schemas.microsoft.com/office/drawing/2014/main" id="{B7FB78CE-365B-C746-B9BD-01A4558CB686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6" r="40760" b="54371"/>
          <a:stretch/>
        </p:blipFill>
        <p:spPr>
          <a:xfrm>
            <a:off x="3011533" y="1101087"/>
            <a:ext cx="3835038" cy="2028190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E54C6639-15DA-964F-9C4E-0FE7DF983E53}"/>
              </a:ext>
            </a:extLst>
          </p:cNvPr>
          <p:cNvSpPr txBox="1"/>
          <p:nvPr/>
        </p:nvSpPr>
        <p:spPr>
          <a:xfrm>
            <a:off x="3011533" y="3210585"/>
            <a:ext cx="2989181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1000" dirty="0" err="1">
                <a:solidFill>
                  <a:srgbClr val="31313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nowflakeODBC</a:t>
            </a:r>
            <a:r>
              <a:rPr lang="en-US" sz="1000" dirty="0">
                <a:solidFill>
                  <a:srgbClr val="31313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driver installation.</a:t>
            </a:r>
          </a:p>
        </p:txBody>
      </p:sp>
    </p:spTree>
    <p:extLst>
      <p:ext uri="{BB962C8B-B14F-4D97-AF65-F5344CB8AC3E}">
        <p14:creationId xmlns:p14="http://schemas.microsoft.com/office/powerpoint/2010/main" val="323706436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7016D6-71EF-470F-BD75-3B45D1854D43}"/>
              </a:ext>
            </a:extLst>
          </p:cNvPr>
          <p:cNvSpPr/>
          <p:nvPr/>
        </p:nvSpPr>
        <p:spPr>
          <a:xfrm>
            <a:off x="0" y="-1"/>
            <a:ext cx="12192000" cy="6857999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Open Sans" panose="020B0606030504020204" pitchFamily="34" charset="0"/>
            </a:endParaRPr>
          </a:p>
        </p:txBody>
      </p:sp>
      <p:pic>
        <p:nvPicPr>
          <p:cNvPr id="6" name="Picture Placeholder 5" descr="A picture containing web&#10;&#10;Description automatically generated">
            <a:extLst>
              <a:ext uri="{FF2B5EF4-FFF2-40B4-BE49-F238E27FC236}">
                <a16:creationId xmlns:a16="http://schemas.microsoft.com/office/drawing/2014/main" id="{1C83148D-F3C0-43CB-8419-C4A77366E9E2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3">
            <a:duotone>
              <a:prstClr val="black"/>
              <a:srgbClr val="13A2DE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51" t="2549" r="11250" b="2549"/>
          <a:stretch/>
        </p:blipFill>
        <p:spPr>
          <a:xfrm>
            <a:off x="2769337" y="641875"/>
            <a:ext cx="8819768" cy="5574246"/>
          </a:xfrm>
        </p:spPr>
      </p:pic>
      <p:sp>
        <p:nvSpPr>
          <p:cNvPr id="16" name="Title 3">
            <a:extLst>
              <a:ext uri="{FF2B5EF4-FFF2-40B4-BE49-F238E27FC236}">
                <a16:creationId xmlns:a16="http://schemas.microsoft.com/office/drawing/2014/main" id="{71CC6877-37EB-4319-8B4B-BF7B394326C8}"/>
              </a:ext>
            </a:extLst>
          </p:cNvPr>
          <p:cNvSpPr txBox="1">
            <a:spLocks/>
          </p:cNvSpPr>
          <p:nvPr/>
        </p:nvSpPr>
        <p:spPr>
          <a:xfrm>
            <a:off x="921933" y="4614787"/>
            <a:ext cx="4687757" cy="897983"/>
          </a:xfrm>
          <a:prstGeom prst="rect">
            <a:avLst/>
          </a:prstGeom>
        </p:spPr>
        <p:txBody>
          <a:bodyPr vert="horz" lIns="0" tIns="45720" rIns="91440" bIns="0" rtlCol="0" anchor="b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800" b="1" i="0" kern="1200" cap="none" spc="-100" baseline="0">
                <a:solidFill>
                  <a:schemeClr val="tx1"/>
                </a:solidFill>
                <a:latin typeface="+mn-lt"/>
                <a:ea typeface="Bebas Neue" charset="0"/>
                <a:cs typeface="Chronicle Display Black"/>
              </a:defRPr>
            </a:lvl1pPr>
          </a:lstStyle>
          <a:p>
            <a:r>
              <a:rPr lang="en-US" sz="3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ableau </a:t>
            </a:r>
            <a:br>
              <a:rPr lang="en-US" sz="3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en-US" sz="3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evelopment</a:t>
            </a:r>
          </a:p>
          <a:p>
            <a:endParaRPr lang="en-US" sz="16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r>
              <a:rPr lang="en-US" sz="3200" i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ile System &amp;</a:t>
            </a:r>
          </a:p>
          <a:p>
            <a:r>
              <a:rPr lang="en-US" sz="3200" i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evelopment Checklist</a:t>
            </a:r>
          </a:p>
        </p:txBody>
      </p:sp>
    </p:spTree>
    <p:extLst>
      <p:ext uri="{BB962C8B-B14F-4D97-AF65-F5344CB8AC3E}">
        <p14:creationId xmlns:p14="http://schemas.microsoft.com/office/powerpoint/2010/main" val="2788145813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F89E453-0D38-43BE-9B4E-D1A6C040EEF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09" name="think-cell Slide" r:id="rId6" imgW="415" imgH="416" progId="TCLayout.ActiveDocument.1">
                  <p:embed/>
                </p:oleObj>
              </mc:Choice>
              <mc:Fallback>
                <p:oleObj name="think-cell Slide" r:id="rId6" imgW="415" imgH="41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F89E453-0D38-43BE-9B4E-D1A6C040EE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CD8A4DCB-D3A6-4CA5-B11F-E36AE53F820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hronicle Display Black" pitchFamily="50" charset="0"/>
              <a:ea typeface="+mn-ea"/>
              <a:cs typeface="+mn-cs"/>
              <a:sym typeface="Chronicle Display Black" pitchFamily="50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D376810-B9DB-4A25-9348-F822C6E80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Tableau File System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ADCE901-7B20-4F20-9A4D-C9D052C4A32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Versions of AI360 workbooks storage locations and versions.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9942AF92-6B18-45C9-BF07-EE9AE4EAFF57}"/>
              </a:ext>
            </a:extLst>
          </p:cNvPr>
          <p:cNvGrpSpPr/>
          <p:nvPr/>
        </p:nvGrpSpPr>
        <p:grpSpPr>
          <a:xfrm>
            <a:off x="1353570" y="1828800"/>
            <a:ext cx="5814874" cy="2725404"/>
            <a:chOff x="1353570" y="1828800"/>
            <a:chExt cx="5814874" cy="2725404"/>
          </a:xfrm>
        </p:grpSpPr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195A374D-927B-4ADF-97DE-BC1E315F33EF}"/>
                </a:ext>
              </a:extLst>
            </p:cNvPr>
            <p:cNvGrpSpPr/>
            <p:nvPr/>
          </p:nvGrpSpPr>
          <p:grpSpPr>
            <a:xfrm>
              <a:off x="1353570" y="1828800"/>
              <a:ext cx="1529330" cy="246221"/>
              <a:chOff x="903382" y="1861851"/>
              <a:chExt cx="1529330" cy="246221"/>
            </a:xfrm>
          </p:grpSpPr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BA340305-648C-405A-AC22-5904697B49D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03382" y="2086038"/>
                <a:ext cx="1529330" cy="0"/>
              </a:xfrm>
              <a:prstGeom prst="line">
                <a:avLst/>
              </a:prstGeom>
              <a:ln w="76200">
                <a:solidFill>
                  <a:srgbClr val="0878AA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6F260B3D-5EC3-439D-8D42-3CC99ADE7A29}"/>
                  </a:ext>
                </a:extLst>
              </p:cNvPr>
              <p:cNvSpPr txBox="1"/>
              <p:nvPr/>
            </p:nvSpPr>
            <p:spPr>
              <a:xfrm>
                <a:off x="914399" y="1861851"/>
                <a:ext cx="1399422" cy="24622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spcBef>
                    <a:spcPts val="600"/>
                  </a:spcBef>
                  <a:buSzPct val="100000"/>
                </a:pPr>
                <a:r>
                  <a:rPr lang="en-US" sz="1600" b="1" dirty="0"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File Locations</a:t>
                </a:r>
              </a:p>
            </p:txBody>
          </p:sp>
        </p:grp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734FBDB5-9636-4C79-A7E4-DEC39E62C0D8}"/>
                </a:ext>
              </a:extLst>
            </p:cNvPr>
            <p:cNvSpPr txBox="1"/>
            <p:nvPr/>
          </p:nvSpPr>
          <p:spPr>
            <a:xfrm>
              <a:off x="1364587" y="2131870"/>
              <a:ext cx="5803857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buSzPct val="100000"/>
              </a:pPr>
              <a:endParaRPr lang="en-US" sz="1200" b="1" dirty="0">
                <a:solidFill>
                  <a:srgbClr val="C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87610AB2-C79A-40BE-B1CE-E77730B87125}"/>
                </a:ext>
              </a:extLst>
            </p:cNvPr>
            <p:cNvGrpSpPr/>
            <p:nvPr/>
          </p:nvGrpSpPr>
          <p:grpSpPr>
            <a:xfrm>
              <a:off x="1573906" y="2370760"/>
              <a:ext cx="4115695" cy="633567"/>
              <a:chOff x="1134736" y="2222954"/>
              <a:chExt cx="4115695" cy="633567"/>
            </a:xfrm>
          </p:grpSpPr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20C90180-B9E9-47A5-A9B9-BEB520DCF67C}"/>
                  </a:ext>
                </a:extLst>
              </p:cNvPr>
              <p:cNvSpPr/>
              <p:nvPr/>
            </p:nvSpPr>
            <p:spPr bwMode="gray">
              <a:xfrm>
                <a:off x="1134736" y="2222954"/>
                <a:ext cx="274320" cy="274320"/>
              </a:xfrm>
              <a:prstGeom prst="rect">
                <a:avLst/>
              </a:prstGeom>
              <a:noFill/>
              <a:ln w="12700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</a:pPr>
                <a:endParaRPr lang="en-US" sz="16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FA3F3445-4E8C-4F55-AAFF-320878630A5E}"/>
                  </a:ext>
                </a:extLst>
              </p:cNvPr>
              <p:cNvSpPr txBox="1"/>
              <p:nvPr/>
            </p:nvSpPr>
            <p:spPr>
              <a:xfrm>
                <a:off x="1482097" y="2225579"/>
                <a:ext cx="3768334" cy="63094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spcBef>
                    <a:spcPts val="600"/>
                  </a:spcBef>
                  <a:buSzPct val="100000"/>
                </a:pPr>
                <a:r>
                  <a:rPr lang="en-US" sz="1200" b="1" dirty="0"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Deloitte Internal Server:</a:t>
                </a:r>
              </a:p>
              <a:p>
                <a:pPr>
                  <a:spcBef>
                    <a:spcPts val="600"/>
                  </a:spcBef>
                  <a:buSzPct val="100000"/>
                </a:pPr>
                <a:r>
                  <a:rPr lang="en-US" sz="1200" dirty="0"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Current workbook for viewing by end users. Connected to locally packaged mock data.</a:t>
                </a:r>
              </a:p>
            </p:txBody>
          </p:sp>
        </p:grp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77DFFD44-D695-474B-8909-299741DA36C0}"/>
                </a:ext>
              </a:extLst>
            </p:cNvPr>
            <p:cNvGrpSpPr/>
            <p:nvPr/>
          </p:nvGrpSpPr>
          <p:grpSpPr>
            <a:xfrm>
              <a:off x="1573906" y="3296098"/>
              <a:ext cx="4418987" cy="1258106"/>
              <a:chOff x="1134736" y="2990506"/>
              <a:chExt cx="4418987" cy="1258106"/>
            </a:xfrm>
          </p:grpSpPr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1E8AC60E-E88E-482B-A50A-55CB8CC2849A}"/>
                  </a:ext>
                </a:extLst>
              </p:cNvPr>
              <p:cNvSpPr/>
              <p:nvPr/>
            </p:nvSpPr>
            <p:spPr bwMode="gray">
              <a:xfrm>
                <a:off x="1134736" y="2990506"/>
                <a:ext cx="274320" cy="274320"/>
              </a:xfrm>
              <a:prstGeom prst="rect">
                <a:avLst/>
              </a:prstGeom>
              <a:noFill/>
              <a:ln w="12700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</a:pPr>
                <a:endParaRPr lang="en-US" sz="16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9" name="TextBox 38">
                <a:extLst>
                  <a:ext uri="{FF2B5EF4-FFF2-40B4-BE49-F238E27FC236}">
                    <a16:creationId xmlns:a16="http://schemas.microsoft.com/office/drawing/2014/main" id="{AAC6DC2F-C391-4C5B-B650-3BED10B02C2E}"/>
                  </a:ext>
                </a:extLst>
              </p:cNvPr>
              <p:cNvSpPr txBox="1"/>
              <p:nvPr/>
            </p:nvSpPr>
            <p:spPr>
              <a:xfrm>
                <a:off x="1482096" y="3017506"/>
                <a:ext cx="4071627" cy="123110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spcBef>
                    <a:spcPts val="600"/>
                  </a:spcBef>
                  <a:buSzPct val="100000"/>
                </a:pPr>
                <a:r>
                  <a:rPr lang="en-US" sz="1200" b="1" dirty="0"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AI360 Deloitte </a:t>
                </a:r>
                <a:r>
                  <a:rPr lang="en-US" sz="1200" b="1" dirty="0" err="1"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Github</a:t>
                </a:r>
                <a:r>
                  <a:rPr lang="en-US" sz="1200" b="1" dirty="0"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:</a:t>
                </a:r>
              </a:p>
              <a:p>
                <a:pPr marL="171450" indent="-171450">
                  <a:spcBef>
                    <a:spcPts val="600"/>
                  </a:spcBef>
                  <a:buSzPct val="100000"/>
                  <a:buFont typeface="Arial" panose="020B0604020202020204" pitchFamily="34" charset="0"/>
                  <a:buChar char="•"/>
                </a:pPr>
                <a:r>
                  <a:rPr lang="en-US" sz="1200" dirty="0"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Archival versions of Tableau workbook</a:t>
                </a:r>
              </a:p>
              <a:p>
                <a:pPr marL="171450" indent="-171450">
                  <a:spcBef>
                    <a:spcPts val="600"/>
                  </a:spcBef>
                  <a:buSzPct val="100000"/>
                  <a:buFont typeface="Arial" panose="020B0604020202020204" pitchFamily="34" charset="0"/>
                  <a:buChar char="•"/>
                </a:pPr>
                <a:r>
                  <a:rPr lang="en-US" sz="1200" dirty="0"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AI Readiness text Excel file</a:t>
                </a:r>
              </a:p>
              <a:p>
                <a:pPr marL="171450" indent="-171450">
                  <a:spcBef>
                    <a:spcPts val="600"/>
                  </a:spcBef>
                  <a:buSzPct val="100000"/>
                  <a:buFont typeface="Arial" panose="020B0604020202020204" pitchFamily="34" charset="0"/>
                  <a:buChar char="•"/>
                </a:pPr>
                <a:r>
                  <a:rPr lang="en-US" sz="1200" dirty="0"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Mock data CSV file</a:t>
                </a:r>
              </a:p>
              <a:p>
                <a:pPr marL="171450" indent="-171450">
                  <a:spcBef>
                    <a:spcPts val="600"/>
                  </a:spcBef>
                  <a:buSzPct val="100000"/>
                  <a:buFont typeface="Arial" panose="020B0604020202020204" pitchFamily="34" charset="0"/>
                  <a:buChar char="•"/>
                </a:pPr>
                <a:r>
                  <a:rPr lang="en-US" sz="1200" dirty="0"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Tableau Development Documentation (this document)</a:t>
                </a:r>
              </a:p>
            </p:txBody>
          </p:sp>
        </p:grp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CD09CB90-ED6B-4444-8FB6-1472605A8202}"/>
              </a:ext>
            </a:extLst>
          </p:cNvPr>
          <p:cNvGrpSpPr/>
          <p:nvPr/>
        </p:nvGrpSpPr>
        <p:grpSpPr>
          <a:xfrm>
            <a:off x="10272038" y="173150"/>
            <a:ext cx="1632640" cy="366837"/>
            <a:chOff x="10272038" y="173150"/>
            <a:chExt cx="1632640" cy="366837"/>
          </a:xfrm>
        </p:grpSpPr>
        <p:grpSp>
          <p:nvGrpSpPr>
            <p:cNvPr id="46" name="Group 53">
              <a:extLst>
                <a:ext uri="{FF2B5EF4-FFF2-40B4-BE49-F238E27FC236}">
                  <a16:creationId xmlns:a16="http://schemas.microsoft.com/office/drawing/2014/main" id="{F9020BB2-8F48-42FB-AE2C-5A6F1699FC7B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0272038" y="173150"/>
              <a:ext cx="365760" cy="366837"/>
              <a:chOff x="5183" y="1046"/>
              <a:chExt cx="340" cy="341"/>
            </a:xfrm>
            <a:solidFill>
              <a:schemeClr val="bg1">
                <a:lumMod val="75000"/>
              </a:schemeClr>
            </a:solidFill>
          </p:grpSpPr>
          <p:sp>
            <p:nvSpPr>
              <p:cNvPr id="56" name="Freeform 54">
                <a:extLst>
                  <a:ext uri="{FF2B5EF4-FFF2-40B4-BE49-F238E27FC236}">
                    <a16:creationId xmlns:a16="http://schemas.microsoft.com/office/drawing/2014/main" id="{775EB903-72DF-473F-A344-D6FD093B7C0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47" y="1110"/>
                <a:ext cx="212" cy="213"/>
              </a:xfrm>
              <a:custGeom>
                <a:avLst/>
                <a:gdLst>
                  <a:gd name="T0" fmla="*/ 160 w 320"/>
                  <a:gd name="T1" fmla="*/ 0 h 320"/>
                  <a:gd name="T2" fmla="*/ 0 w 320"/>
                  <a:gd name="T3" fmla="*/ 160 h 320"/>
                  <a:gd name="T4" fmla="*/ 160 w 320"/>
                  <a:gd name="T5" fmla="*/ 320 h 320"/>
                  <a:gd name="T6" fmla="*/ 320 w 320"/>
                  <a:gd name="T7" fmla="*/ 160 h 320"/>
                  <a:gd name="T8" fmla="*/ 160 w 320"/>
                  <a:gd name="T9" fmla="*/ 0 h 320"/>
                  <a:gd name="T10" fmla="*/ 283 w 320"/>
                  <a:gd name="T11" fmla="*/ 224 h 320"/>
                  <a:gd name="T12" fmla="*/ 218 w 320"/>
                  <a:gd name="T13" fmla="*/ 224 h 320"/>
                  <a:gd name="T14" fmla="*/ 223 w 320"/>
                  <a:gd name="T15" fmla="*/ 170 h 320"/>
                  <a:gd name="T16" fmla="*/ 298 w 320"/>
                  <a:gd name="T17" fmla="*/ 170 h 320"/>
                  <a:gd name="T18" fmla="*/ 283 w 320"/>
                  <a:gd name="T19" fmla="*/ 224 h 320"/>
                  <a:gd name="T20" fmla="*/ 160 w 320"/>
                  <a:gd name="T21" fmla="*/ 298 h 320"/>
                  <a:gd name="T22" fmla="*/ 127 w 320"/>
                  <a:gd name="T23" fmla="*/ 245 h 320"/>
                  <a:gd name="T24" fmla="*/ 192 w 320"/>
                  <a:gd name="T25" fmla="*/ 245 h 320"/>
                  <a:gd name="T26" fmla="*/ 160 w 320"/>
                  <a:gd name="T27" fmla="*/ 298 h 320"/>
                  <a:gd name="T28" fmla="*/ 122 w 320"/>
                  <a:gd name="T29" fmla="*/ 224 h 320"/>
                  <a:gd name="T30" fmla="*/ 117 w 320"/>
                  <a:gd name="T31" fmla="*/ 170 h 320"/>
                  <a:gd name="T32" fmla="*/ 202 w 320"/>
                  <a:gd name="T33" fmla="*/ 170 h 320"/>
                  <a:gd name="T34" fmla="*/ 197 w 320"/>
                  <a:gd name="T35" fmla="*/ 224 h 320"/>
                  <a:gd name="T36" fmla="*/ 122 w 320"/>
                  <a:gd name="T37" fmla="*/ 224 h 320"/>
                  <a:gd name="T38" fmla="*/ 22 w 320"/>
                  <a:gd name="T39" fmla="*/ 170 h 320"/>
                  <a:gd name="T40" fmla="*/ 96 w 320"/>
                  <a:gd name="T41" fmla="*/ 170 h 320"/>
                  <a:gd name="T42" fmla="*/ 101 w 320"/>
                  <a:gd name="T43" fmla="*/ 224 h 320"/>
                  <a:gd name="T44" fmla="*/ 37 w 320"/>
                  <a:gd name="T45" fmla="*/ 224 h 320"/>
                  <a:gd name="T46" fmla="*/ 22 w 320"/>
                  <a:gd name="T47" fmla="*/ 170 h 320"/>
                  <a:gd name="T48" fmla="*/ 37 w 320"/>
                  <a:gd name="T49" fmla="*/ 96 h 320"/>
                  <a:gd name="T50" fmla="*/ 101 w 320"/>
                  <a:gd name="T51" fmla="*/ 96 h 320"/>
                  <a:gd name="T52" fmla="*/ 96 w 320"/>
                  <a:gd name="T53" fmla="*/ 149 h 320"/>
                  <a:gd name="T54" fmla="*/ 22 w 320"/>
                  <a:gd name="T55" fmla="*/ 149 h 320"/>
                  <a:gd name="T56" fmla="*/ 37 w 320"/>
                  <a:gd name="T57" fmla="*/ 96 h 320"/>
                  <a:gd name="T58" fmla="*/ 160 w 320"/>
                  <a:gd name="T59" fmla="*/ 21 h 320"/>
                  <a:gd name="T60" fmla="*/ 192 w 320"/>
                  <a:gd name="T61" fmla="*/ 74 h 320"/>
                  <a:gd name="T62" fmla="*/ 127 w 320"/>
                  <a:gd name="T63" fmla="*/ 74 h 320"/>
                  <a:gd name="T64" fmla="*/ 160 w 320"/>
                  <a:gd name="T65" fmla="*/ 21 h 320"/>
                  <a:gd name="T66" fmla="*/ 197 w 320"/>
                  <a:gd name="T67" fmla="*/ 96 h 320"/>
                  <a:gd name="T68" fmla="*/ 202 w 320"/>
                  <a:gd name="T69" fmla="*/ 149 h 320"/>
                  <a:gd name="T70" fmla="*/ 117 w 320"/>
                  <a:gd name="T71" fmla="*/ 149 h 320"/>
                  <a:gd name="T72" fmla="*/ 122 w 320"/>
                  <a:gd name="T73" fmla="*/ 96 h 320"/>
                  <a:gd name="T74" fmla="*/ 197 w 320"/>
                  <a:gd name="T75" fmla="*/ 96 h 320"/>
                  <a:gd name="T76" fmla="*/ 223 w 320"/>
                  <a:gd name="T77" fmla="*/ 149 h 320"/>
                  <a:gd name="T78" fmla="*/ 218 w 320"/>
                  <a:gd name="T79" fmla="*/ 96 h 320"/>
                  <a:gd name="T80" fmla="*/ 283 w 320"/>
                  <a:gd name="T81" fmla="*/ 96 h 320"/>
                  <a:gd name="T82" fmla="*/ 298 w 320"/>
                  <a:gd name="T83" fmla="*/ 149 h 320"/>
                  <a:gd name="T84" fmla="*/ 223 w 320"/>
                  <a:gd name="T85" fmla="*/ 149 h 320"/>
                  <a:gd name="T86" fmla="*/ 269 w 320"/>
                  <a:gd name="T87" fmla="*/ 74 h 320"/>
                  <a:gd name="T88" fmla="*/ 214 w 320"/>
                  <a:gd name="T89" fmla="*/ 74 h 320"/>
                  <a:gd name="T90" fmla="*/ 196 w 320"/>
                  <a:gd name="T91" fmla="*/ 26 h 320"/>
                  <a:gd name="T92" fmla="*/ 269 w 320"/>
                  <a:gd name="T93" fmla="*/ 74 h 320"/>
                  <a:gd name="T94" fmla="*/ 124 w 320"/>
                  <a:gd name="T95" fmla="*/ 26 h 320"/>
                  <a:gd name="T96" fmla="*/ 105 w 320"/>
                  <a:gd name="T97" fmla="*/ 74 h 320"/>
                  <a:gd name="T98" fmla="*/ 51 w 320"/>
                  <a:gd name="T99" fmla="*/ 74 h 320"/>
                  <a:gd name="T100" fmla="*/ 124 w 320"/>
                  <a:gd name="T101" fmla="*/ 26 h 320"/>
                  <a:gd name="T102" fmla="*/ 51 w 320"/>
                  <a:gd name="T103" fmla="*/ 245 h 320"/>
                  <a:gd name="T104" fmla="*/ 105 w 320"/>
                  <a:gd name="T105" fmla="*/ 245 h 320"/>
                  <a:gd name="T106" fmla="*/ 124 w 320"/>
                  <a:gd name="T107" fmla="*/ 293 h 320"/>
                  <a:gd name="T108" fmla="*/ 51 w 320"/>
                  <a:gd name="T109" fmla="*/ 245 h 320"/>
                  <a:gd name="T110" fmla="*/ 196 w 320"/>
                  <a:gd name="T111" fmla="*/ 293 h 320"/>
                  <a:gd name="T112" fmla="*/ 214 w 320"/>
                  <a:gd name="T113" fmla="*/ 245 h 320"/>
                  <a:gd name="T114" fmla="*/ 269 w 320"/>
                  <a:gd name="T115" fmla="*/ 245 h 320"/>
                  <a:gd name="T116" fmla="*/ 196 w 320"/>
                  <a:gd name="T117" fmla="*/ 293 h 3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320" h="320">
                    <a:moveTo>
                      <a:pt x="160" y="0"/>
                    </a:moveTo>
                    <a:cubicBezTo>
                      <a:pt x="71" y="0"/>
                      <a:pt x="0" y="71"/>
                      <a:pt x="0" y="160"/>
                    </a:cubicBezTo>
                    <a:cubicBezTo>
                      <a:pt x="0" y="248"/>
                      <a:pt x="71" y="320"/>
                      <a:pt x="160" y="320"/>
                    </a:cubicBezTo>
                    <a:cubicBezTo>
                      <a:pt x="248" y="320"/>
                      <a:pt x="320" y="248"/>
                      <a:pt x="320" y="160"/>
                    </a:cubicBezTo>
                    <a:cubicBezTo>
                      <a:pt x="320" y="71"/>
                      <a:pt x="248" y="0"/>
                      <a:pt x="160" y="0"/>
                    </a:cubicBezTo>
                    <a:close/>
                    <a:moveTo>
                      <a:pt x="283" y="224"/>
                    </a:moveTo>
                    <a:cubicBezTo>
                      <a:pt x="218" y="224"/>
                      <a:pt x="218" y="224"/>
                      <a:pt x="218" y="224"/>
                    </a:cubicBezTo>
                    <a:cubicBezTo>
                      <a:pt x="221" y="207"/>
                      <a:pt x="223" y="188"/>
                      <a:pt x="223" y="170"/>
                    </a:cubicBezTo>
                    <a:cubicBezTo>
                      <a:pt x="298" y="170"/>
                      <a:pt x="298" y="170"/>
                      <a:pt x="298" y="170"/>
                    </a:cubicBezTo>
                    <a:cubicBezTo>
                      <a:pt x="296" y="189"/>
                      <a:pt x="291" y="207"/>
                      <a:pt x="283" y="224"/>
                    </a:cubicBezTo>
                    <a:close/>
                    <a:moveTo>
                      <a:pt x="160" y="298"/>
                    </a:moveTo>
                    <a:cubicBezTo>
                      <a:pt x="149" y="298"/>
                      <a:pt x="136" y="279"/>
                      <a:pt x="127" y="245"/>
                    </a:cubicBezTo>
                    <a:cubicBezTo>
                      <a:pt x="192" y="245"/>
                      <a:pt x="192" y="245"/>
                      <a:pt x="192" y="245"/>
                    </a:cubicBezTo>
                    <a:cubicBezTo>
                      <a:pt x="183" y="279"/>
                      <a:pt x="170" y="298"/>
                      <a:pt x="160" y="298"/>
                    </a:cubicBezTo>
                    <a:close/>
                    <a:moveTo>
                      <a:pt x="122" y="224"/>
                    </a:moveTo>
                    <a:cubicBezTo>
                      <a:pt x="120" y="208"/>
                      <a:pt x="118" y="190"/>
                      <a:pt x="117" y="170"/>
                    </a:cubicBezTo>
                    <a:cubicBezTo>
                      <a:pt x="202" y="170"/>
                      <a:pt x="202" y="170"/>
                      <a:pt x="202" y="170"/>
                    </a:cubicBezTo>
                    <a:cubicBezTo>
                      <a:pt x="202" y="190"/>
                      <a:pt x="200" y="208"/>
                      <a:pt x="197" y="224"/>
                    </a:cubicBezTo>
                    <a:lnTo>
                      <a:pt x="122" y="224"/>
                    </a:lnTo>
                    <a:close/>
                    <a:moveTo>
                      <a:pt x="22" y="170"/>
                    </a:moveTo>
                    <a:cubicBezTo>
                      <a:pt x="96" y="170"/>
                      <a:pt x="96" y="170"/>
                      <a:pt x="96" y="170"/>
                    </a:cubicBezTo>
                    <a:cubicBezTo>
                      <a:pt x="96" y="188"/>
                      <a:pt x="98" y="207"/>
                      <a:pt x="101" y="224"/>
                    </a:cubicBezTo>
                    <a:cubicBezTo>
                      <a:pt x="37" y="224"/>
                      <a:pt x="37" y="224"/>
                      <a:pt x="37" y="224"/>
                    </a:cubicBezTo>
                    <a:cubicBezTo>
                      <a:pt x="28" y="207"/>
                      <a:pt x="23" y="189"/>
                      <a:pt x="22" y="170"/>
                    </a:cubicBezTo>
                    <a:close/>
                    <a:moveTo>
                      <a:pt x="37" y="96"/>
                    </a:moveTo>
                    <a:cubicBezTo>
                      <a:pt x="101" y="96"/>
                      <a:pt x="101" y="96"/>
                      <a:pt x="101" y="96"/>
                    </a:cubicBezTo>
                    <a:cubicBezTo>
                      <a:pt x="98" y="113"/>
                      <a:pt x="96" y="131"/>
                      <a:pt x="96" y="149"/>
                    </a:cubicBezTo>
                    <a:cubicBezTo>
                      <a:pt x="22" y="149"/>
                      <a:pt x="22" y="149"/>
                      <a:pt x="22" y="149"/>
                    </a:cubicBezTo>
                    <a:cubicBezTo>
                      <a:pt x="23" y="130"/>
                      <a:pt x="28" y="112"/>
                      <a:pt x="37" y="96"/>
                    </a:cubicBezTo>
                    <a:close/>
                    <a:moveTo>
                      <a:pt x="160" y="21"/>
                    </a:moveTo>
                    <a:cubicBezTo>
                      <a:pt x="170" y="21"/>
                      <a:pt x="183" y="41"/>
                      <a:pt x="192" y="74"/>
                    </a:cubicBezTo>
                    <a:cubicBezTo>
                      <a:pt x="127" y="74"/>
                      <a:pt x="127" y="74"/>
                      <a:pt x="127" y="74"/>
                    </a:cubicBezTo>
                    <a:cubicBezTo>
                      <a:pt x="136" y="41"/>
                      <a:pt x="149" y="21"/>
                      <a:pt x="160" y="21"/>
                    </a:cubicBezTo>
                    <a:close/>
                    <a:moveTo>
                      <a:pt x="197" y="96"/>
                    </a:moveTo>
                    <a:cubicBezTo>
                      <a:pt x="200" y="111"/>
                      <a:pt x="202" y="129"/>
                      <a:pt x="202" y="149"/>
                    </a:cubicBezTo>
                    <a:cubicBezTo>
                      <a:pt x="117" y="149"/>
                      <a:pt x="117" y="149"/>
                      <a:pt x="117" y="149"/>
                    </a:cubicBezTo>
                    <a:cubicBezTo>
                      <a:pt x="118" y="129"/>
                      <a:pt x="120" y="111"/>
                      <a:pt x="122" y="96"/>
                    </a:cubicBezTo>
                    <a:lnTo>
                      <a:pt x="197" y="96"/>
                    </a:lnTo>
                    <a:close/>
                    <a:moveTo>
                      <a:pt x="223" y="149"/>
                    </a:moveTo>
                    <a:cubicBezTo>
                      <a:pt x="223" y="131"/>
                      <a:pt x="221" y="113"/>
                      <a:pt x="218" y="96"/>
                    </a:cubicBezTo>
                    <a:cubicBezTo>
                      <a:pt x="283" y="96"/>
                      <a:pt x="283" y="96"/>
                      <a:pt x="283" y="96"/>
                    </a:cubicBezTo>
                    <a:cubicBezTo>
                      <a:pt x="291" y="112"/>
                      <a:pt x="296" y="130"/>
                      <a:pt x="298" y="149"/>
                    </a:cubicBezTo>
                    <a:lnTo>
                      <a:pt x="223" y="149"/>
                    </a:lnTo>
                    <a:close/>
                    <a:moveTo>
                      <a:pt x="269" y="74"/>
                    </a:moveTo>
                    <a:cubicBezTo>
                      <a:pt x="214" y="74"/>
                      <a:pt x="214" y="74"/>
                      <a:pt x="214" y="74"/>
                    </a:cubicBezTo>
                    <a:cubicBezTo>
                      <a:pt x="210" y="55"/>
                      <a:pt x="203" y="39"/>
                      <a:pt x="196" y="26"/>
                    </a:cubicBezTo>
                    <a:cubicBezTo>
                      <a:pt x="225" y="34"/>
                      <a:pt x="251" y="51"/>
                      <a:pt x="269" y="74"/>
                    </a:cubicBezTo>
                    <a:close/>
                    <a:moveTo>
                      <a:pt x="124" y="26"/>
                    </a:moveTo>
                    <a:cubicBezTo>
                      <a:pt x="116" y="39"/>
                      <a:pt x="110" y="55"/>
                      <a:pt x="105" y="74"/>
                    </a:cubicBezTo>
                    <a:cubicBezTo>
                      <a:pt x="51" y="74"/>
                      <a:pt x="51" y="74"/>
                      <a:pt x="51" y="74"/>
                    </a:cubicBezTo>
                    <a:cubicBezTo>
                      <a:pt x="69" y="51"/>
                      <a:pt x="94" y="34"/>
                      <a:pt x="124" y="26"/>
                    </a:cubicBezTo>
                    <a:close/>
                    <a:moveTo>
                      <a:pt x="51" y="245"/>
                    </a:moveTo>
                    <a:cubicBezTo>
                      <a:pt x="105" y="245"/>
                      <a:pt x="105" y="245"/>
                      <a:pt x="105" y="245"/>
                    </a:cubicBezTo>
                    <a:cubicBezTo>
                      <a:pt x="110" y="264"/>
                      <a:pt x="116" y="281"/>
                      <a:pt x="124" y="293"/>
                    </a:cubicBezTo>
                    <a:cubicBezTo>
                      <a:pt x="94" y="285"/>
                      <a:pt x="69" y="268"/>
                      <a:pt x="51" y="245"/>
                    </a:cubicBezTo>
                    <a:close/>
                    <a:moveTo>
                      <a:pt x="196" y="293"/>
                    </a:moveTo>
                    <a:cubicBezTo>
                      <a:pt x="203" y="281"/>
                      <a:pt x="210" y="264"/>
                      <a:pt x="214" y="245"/>
                    </a:cubicBezTo>
                    <a:cubicBezTo>
                      <a:pt x="269" y="245"/>
                      <a:pt x="269" y="245"/>
                      <a:pt x="269" y="245"/>
                    </a:cubicBezTo>
                    <a:cubicBezTo>
                      <a:pt x="251" y="268"/>
                      <a:pt x="225" y="285"/>
                      <a:pt x="196" y="29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57" name="Freeform 55">
                <a:extLst>
                  <a:ext uri="{FF2B5EF4-FFF2-40B4-BE49-F238E27FC236}">
                    <a16:creationId xmlns:a16="http://schemas.microsoft.com/office/drawing/2014/main" id="{18071462-40EF-4636-9CB6-2646FAE8FE0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83" y="1046"/>
                <a:ext cx="340" cy="341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grpSp>
          <p:nvGrpSpPr>
            <p:cNvPr id="47" name="Group 46">
              <a:extLst>
                <a:ext uri="{FF2B5EF4-FFF2-40B4-BE49-F238E27FC236}">
                  <a16:creationId xmlns:a16="http://schemas.microsoft.com/office/drawing/2014/main" id="{50A1B086-0B13-45F8-9936-4DBCD17BC885}"/>
                </a:ext>
              </a:extLst>
            </p:cNvPr>
            <p:cNvGrpSpPr/>
            <p:nvPr/>
          </p:nvGrpSpPr>
          <p:grpSpPr>
            <a:xfrm>
              <a:off x="11116624" y="173688"/>
              <a:ext cx="365760" cy="365760"/>
              <a:chOff x="6806797" y="2076826"/>
              <a:chExt cx="685804" cy="685804"/>
            </a:xfrm>
            <a:solidFill>
              <a:schemeClr val="bg1">
                <a:lumMod val="75000"/>
              </a:schemeClr>
            </a:solidFill>
          </p:grpSpPr>
          <p:sp>
            <p:nvSpPr>
              <p:cNvPr id="54" name="Freeform 623">
                <a:extLst>
                  <a:ext uri="{FF2B5EF4-FFF2-40B4-BE49-F238E27FC236}">
                    <a16:creationId xmlns:a16="http://schemas.microsoft.com/office/drawing/2014/main" id="{B45D8E45-87AB-4655-A0A1-DB027E334D8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06797" y="2076826"/>
                <a:ext cx="685804" cy="685804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pic>
            <p:nvPicPr>
              <p:cNvPr id="55" name="Graphic 54" descr="Target">
                <a:extLst>
                  <a:ext uri="{FF2B5EF4-FFF2-40B4-BE49-F238E27FC236}">
                    <a16:creationId xmlns:a16="http://schemas.microsoft.com/office/drawing/2014/main" id="{B6BA2F60-8613-43C7-AD1E-EBC19EC7A72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6852519" y="2122548"/>
                <a:ext cx="594360" cy="594360"/>
              </a:xfrm>
              <a:prstGeom prst="rect">
                <a:avLst/>
              </a:prstGeom>
            </p:spPr>
          </p:pic>
        </p:grpSp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CC80E046-9E13-48C7-8566-22F90F1C35EC}"/>
                </a:ext>
              </a:extLst>
            </p:cNvPr>
            <p:cNvGrpSpPr/>
            <p:nvPr/>
          </p:nvGrpSpPr>
          <p:grpSpPr>
            <a:xfrm>
              <a:off x="11538918" y="173688"/>
              <a:ext cx="365760" cy="365760"/>
              <a:chOff x="6806753" y="3091011"/>
              <a:chExt cx="685800" cy="685800"/>
            </a:xfrm>
          </p:grpSpPr>
          <p:sp>
            <p:nvSpPr>
              <p:cNvPr id="52" name="Freeform 727">
                <a:extLst>
                  <a:ext uri="{FF2B5EF4-FFF2-40B4-BE49-F238E27FC236}">
                    <a16:creationId xmlns:a16="http://schemas.microsoft.com/office/drawing/2014/main" id="{7085F320-EC21-4F82-A622-25D87910AE0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06753" y="3091011"/>
                <a:ext cx="685800" cy="685800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solidFill>
                <a:srgbClr val="0878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pic>
            <p:nvPicPr>
              <p:cNvPr id="53" name="Graphic 52" descr="Head with gears">
                <a:extLst>
                  <a:ext uri="{FF2B5EF4-FFF2-40B4-BE49-F238E27FC236}">
                    <a16:creationId xmlns:a16="http://schemas.microsoft.com/office/drawing/2014/main" id="{9CCFD59E-5E79-4E11-AF89-AE8B4EED813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>
                <a:off x="6932592" y="3216850"/>
                <a:ext cx="434123" cy="434123"/>
              </a:xfrm>
              <a:prstGeom prst="rect">
                <a:avLst/>
              </a:prstGeom>
            </p:spPr>
          </p:pic>
        </p:grp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8A112A9F-8068-43C1-B351-1B979019FB7D}"/>
                </a:ext>
              </a:extLst>
            </p:cNvPr>
            <p:cNvGrpSpPr/>
            <p:nvPr/>
          </p:nvGrpSpPr>
          <p:grpSpPr>
            <a:xfrm>
              <a:off x="10694331" y="173688"/>
              <a:ext cx="365760" cy="365760"/>
              <a:chOff x="6806753" y="2142199"/>
              <a:chExt cx="685804" cy="685804"/>
            </a:xfrm>
            <a:solidFill>
              <a:schemeClr val="bg1">
                <a:lumMod val="75000"/>
              </a:schemeClr>
            </a:solidFill>
          </p:grpSpPr>
          <p:sp>
            <p:nvSpPr>
              <p:cNvPr id="50" name="Freeform 623">
                <a:extLst>
                  <a:ext uri="{FF2B5EF4-FFF2-40B4-BE49-F238E27FC236}">
                    <a16:creationId xmlns:a16="http://schemas.microsoft.com/office/drawing/2014/main" id="{2EABCBA1-F1C4-4306-BBF9-F7454810ABF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06753" y="2142199"/>
                <a:ext cx="685804" cy="685804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pic>
            <p:nvPicPr>
              <p:cNvPr id="51" name="Graphic 50" descr="Badge Tick outline">
                <a:extLst>
                  <a:ext uri="{FF2B5EF4-FFF2-40B4-BE49-F238E27FC236}">
                    <a16:creationId xmlns:a16="http://schemas.microsoft.com/office/drawing/2014/main" id="{5023C525-71AA-4160-8C84-18544D5CBE3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6834429" y="2170883"/>
                <a:ext cx="628436" cy="628436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156614055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F89E453-0D38-43BE-9B4E-D1A6C040EEF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3" name="think-cell Slide" r:id="rId6" imgW="415" imgH="416" progId="TCLayout.ActiveDocument.1">
                  <p:embed/>
                </p:oleObj>
              </mc:Choice>
              <mc:Fallback>
                <p:oleObj name="think-cell Slide" r:id="rId6" imgW="415" imgH="41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F89E453-0D38-43BE-9B4E-D1A6C040EE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CD8A4DCB-D3A6-4CA5-B11F-E36AE53F820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hronicle Display Black" pitchFamily="50" charset="0"/>
              <a:ea typeface="+mn-ea"/>
              <a:cs typeface="+mn-cs"/>
              <a:sym typeface="Chronicle Display Black" pitchFamily="50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D376810-B9DB-4A25-9348-F822C6E80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Tableau Development Checklist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ADCE901-7B20-4F20-9A4D-C9D052C4A32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To utilize the AI360 Tableau notebook and connect it to live data, there are some critical actions to operationalize the dashboard.</a:t>
            </a:r>
          </a:p>
          <a:p>
            <a:endParaRPr lang="en-US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9942AF92-6B18-45C9-BF07-EE9AE4EAFF57}"/>
              </a:ext>
            </a:extLst>
          </p:cNvPr>
          <p:cNvGrpSpPr/>
          <p:nvPr/>
        </p:nvGrpSpPr>
        <p:grpSpPr>
          <a:xfrm>
            <a:off x="1353570" y="1828800"/>
            <a:ext cx="5814874" cy="2799229"/>
            <a:chOff x="1353570" y="1828800"/>
            <a:chExt cx="5814874" cy="2799229"/>
          </a:xfrm>
        </p:grpSpPr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195A374D-927B-4ADF-97DE-BC1E315F33EF}"/>
                </a:ext>
              </a:extLst>
            </p:cNvPr>
            <p:cNvGrpSpPr/>
            <p:nvPr/>
          </p:nvGrpSpPr>
          <p:grpSpPr>
            <a:xfrm>
              <a:off x="1353570" y="1828800"/>
              <a:ext cx="2743200" cy="246221"/>
              <a:chOff x="903382" y="1861851"/>
              <a:chExt cx="2743200" cy="246221"/>
            </a:xfrm>
          </p:grpSpPr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BA340305-648C-405A-AC22-5904697B49D7}"/>
                  </a:ext>
                </a:extLst>
              </p:cNvPr>
              <p:cNvCxnSpPr/>
              <p:nvPr/>
            </p:nvCxnSpPr>
            <p:spPr>
              <a:xfrm>
                <a:off x="903382" y="2086038"/>
                <a:ext cx="2743200" cy="0"/>
              </a:xfrm>
              <a:prstGeom prst="line">
                <a:avLst/>
              </a:prstGeom>
              <a:ln w="76200">
                <a:solidFill>
                  <a:srgbClr val="0878AA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6F260B3D-5EC3-439D-8D42-3CC99ADE7A29}"/>
                  </a:ext>
                </a:extLst>
              </p:cNvPr>
              <p:cNvSpPr txBox="1"/>
              <p:nvPr/>
            </p:nvSpPr>
            <p:spPr>
              <a:xfrm>
                <a:off x="914399" y="1861851"/>
                <a:ext cx="2537554" cy="24622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spcBef>
                    <a:spcPts val="600"/>
                  </a:spcBef>
                  <a:buSzPct val="100000"/>
                </a:pPr>
                <a:r>
                  <a:rPr lang="en-US" sz="1600" b="1" dirty="0"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Critical Actions Checklist</a:t>
                </a:r>
              </a:p>
            </p:txBody>
          </p:sp>
        </p:grp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734FBDB5-9636-4C79-A7E4-DEC39E62C0D8}"/>
                </a:ext>
              </a:extLst>
            </p:cNvPr>
            <p:cNvSpPr txBox="1"/>
            <p:nvPr/>
          </p:nvSpPr>
          <p:spPr>
            <a:xfrm>
              <a:off x="1364587" y="2131870"/>
              <a:ext cx="5803857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buSzPct val="100000"/>
              </a:pPr>
              <a:r>
                <a:rPr lang="en-US" sz="120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Critical Actions are items that must be completed or reviewed. They are indicated on the top right corner of instruction pages in this guide as </a:t>
              </a:r>
              <a:r>
                <a:rPr lang="en-US" sz="1200" b="1" dirty="0">
                  <a:solidFill>
                    <a:srgbClr val="C00000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CRITICAL ACTION</a:t>
              </a:r>
            </a:p>
          </p:txBody>
        </p: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87610AB2-C79A-40BE-B1CE-E77730B87125}"/>
                </a:ext>
              </a:extLst>
            </p:cNvPr>
            <p:cNvGrpSpPr/>
            <p:nvPr/>
          </p:nvGrpSpPr>
          <p:grpSpPr>
            <a:xfrm>
              <a:off x="1573907" y="2913891"/>
              <a:ext cx="4115694" cy="369332"/>
              <a:chOff x="1134737" y="2766085"/>
              <a:chExt cx="4115694" cy="369332"/>
            </a:xfrm>
          </p:grpSpPr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20C90180-B9E9-47A5-A9B9-BEB520DCF67C}"/>
                  </a:ext>
                </a:extLst>
              </p:cNvPr>
              <p:cNvSpPr/>
              <p:nvPr/>
            </p:nvSpPr>
            <p:spPr bwMode="gray">
              <a:xfrm>
                <a:off x="1134737" y="2813591"/>
                <a:ext cx="274320" cy="274320"/>
              </a:xfrm>
              <a:prstGeom prst="rect">
                <a:avLst/>
              </a:prstGeom>
              <a:noFill/>
              <a:ln w="12700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</a:pPr>
                <a:endParaRPr lang="en-US" sz="16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FA3F3445-4E8C-4F55-AAFF-320878630A5E}"/>
                  </a:ext>
                </a:extLst>
              </p:cNvPr>
              <p:cNvSpPr txBox="1"/>
              <p:nvPr/>
            </p:nvSpPr>
            <p:spPr>
              <a:xfrm>
                <a:off x="1482097" y="2766085"/>
                <a:ext cx="3768334" cy="36933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spcBef>
                    <a:spcPts val="600"/>
                  </a:spcBef>
                  <a:buSzPct val="100000"/>
                </a:pPr>
                <a:r>
                  <a:rPr lang="en-US" sz="1200" dirty="0"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Install the </a:t>
                </a:r>
                <a:r>
                  <a:rPr lang="en-US" sz="1200" dirty="0" err="1"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SnowflakeODBC</a:t>
                </a:r>
                <a:r>
                  <a:rPr lang="en-US" sz="1200" dirty="0"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 Driver for Tableau to connect to Snowflake </a:t>
                </a:r>
              </a:p>
            </p:txBody>
          </p:sp>
        </p:grp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77DFFD44-D695-474B-8909-299741DA36C0}"/>
                </a:ext>
              </a:extLst>
            </p:cNvPr>
            <p:cNvGrpSpPr/>
            <p:nvPr/>
          </p:nvGrpSpPr>
          <p:grpSpPr>
            <a:xfrm>
              <a:off x="1573906" y="3633800"/>
              <a:ext cx="4770046" cy="274320"/>
              <a:chOff x="1134736" y="3328208"/>
              <a:chExt cx="4770046" cy="274320"/>
            </a:xfrm>
          </p:grpSpPr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1E8AC60E-E88E-482B-A50A-55CB8CC2849A}"/>
                  </a:ext>
                </a:extLst>
              </p:cNvPr>
              <p:cNvSpPr/>
              <p:nvPr/>
            </p:nvSpPr>
            <p:spPr bwMode="gray">
              <a:xfrm>
                <a:off x="1134736" y="3328208"/>
                <a:ext cx="274320" cy="274320"/>
              </a:xfrm>
              <a:prstGeom prst="rect">
                <a:avLst/>
              </a:prstGeom>
              <a:noFill/>
              <a:ln w="12700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</a:pPr>
                <a:endParaRPr lang="en-US" sz="16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9" name="TextBox 38">
                <a:extLst>
                  <a:ext uri="{FF2B5EF4-FFF2-40B4-BE49-F238E27FC236}">
                    <a16:creationId xmlns:a16="http://schemas.microsoft.com/office/drawing/2014/main" id="{AAC6DC2F-C391-4C5B-B650-3BED10B02C2E}"/>
                  </a:ext>
                </a:extLst>
              </p:cNvPr>
              <p:cNvSpPr txBox="1"/>
              <p:nvPr/>
            </p:nvSpPr>
            <p:spPr>
              <a:xfrm>
                <a:off x="1482096" y="3373035"/>
                <a:ext cx="4422686" cy="18466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spcBef>
                    <a:spcPts val="600"/>
                  </a:spcBef>
                  <a:buSzPct val="100000"/>
                </a:pPr>
                <a:r>
                  <a:rPr lang="en-US" sz="1200" dirty="0"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Switch data source from the Mock Data to live Snowflake data</a:t>
                </a:r>
              </a:p>
            </p:txBody>
          </p:sp>
        </p:grpSp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0E26B0F2-7013-4CAF-82D4-15226BA48EA2}"/>
                </a:ext>
              </a:extLst>
            </p:cNvPr>
            <p:cNvGrpSpPr/>
            <p:nvPr/>
          </p:nvGrpSpPr>
          <p:grpSpPr>
            <a:xfrm>
              <a:off x="1573906" y="4258697"/>
              <a:ext cx="4522093" cy="369332"/>
              <a:chOff x="1134736" y="3880025"/>
              <a:chExt cx="4522093" cy="369332"/>
            </a:xfrm>
          </p:grpSpPr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ECFC4259-CD4B-4A3D-BE80-FAF4C2453060}"/>
                  </a:ext>
                </a:extLst>
              </p:cNvPr>
              <p:cNvSpPr/>
              <p:nvPr/>
            </p:nvSpPr>
            <p:spPr bwMode="gray">
              <a:xfrm>
                <a:off x="1134736" y="3927531"/>
                <a:ext cx="274320" cy="274320"/>
              </a:xfrm>
              <a:prstGeom prst="rect">
                <a:avLst/>
              </a:prstGeom>
              <a:noFill/>
              <a:ln w="12700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</a:pPr>
                <a:endParaRPr lang="en-US" sz="16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42" name="TextBox 41">
                <a:extLst>
                  <a:ext uri="{FF2B5EF4-FFF2-40B4-BE49-F238E27FC236}">
                    <a16:creationId xmlns:a16="http://schemas.microsoft.com/office/drawing/2014/main" id="{72D5E0A8-16DD-42AE-9544-344B02B3D4AE}"/>
                  </a:ext>
                </a:extLst>
              </p:cNvPr>
              <p:cNvSpPr txBox="1"/>
              <p:nvPr/>
            </p:nvSpPr>
            <p:spPr>
              <a:xfrm>
                <a:off x="1482096" y="3880025"/>
                <a:ext cx="4174733" cy="36933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spcBef>
                    <a:spcPts val="600"/>
                  </a:spcBef>
                  <a:buSzPct val="100000"/>
                </a:pPr>
                <a:r>
                  <a:rPr lang="en-US" sz="1200" dirty="0"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Review Organization data and use the Tableau grouping function to group and name Organization </a:t>
                </a:r>
              </a:p>
            </p:txBody>
          </p:sp>
        </p:grp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CD09CB90-ED6B-4444-8FB6-1472605A8202}"/>
              </a:ext>
            </a:extLst>
          </p:cNvPr>
          <p:cNvGrpSpPr/>
          <p:nvPr/>
        </p:nvGrpSpPr>
        <p:grpSpPr>
          <a:xfrm>
            <a:off x="10272038" y="173150"/>
            <a:ext cx="1632640" cy="366837"/>
            <a:chOff x="10272038" y="173150"/>
            <a:chExt cx="1632640" cy="366837"/>
          </a:xfrm>
        </p:grpSpPr>
        <p:grpSp>
          <p:nvGrpSpPr>
            <p:cNvPr id="46" name="Group 53">
              <a:extLst>
                <a:ext uri="{FF2B5EF4-FFF2-40B4-BE49-F238E27FC236}">
                  <a16:creationId xmlns:a16="http://schemas.microsoft.com/office/drawing/2014/main" id="{F9020BB2-8F48-42FB-AE2C-5A6F1699FC7B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0272038" y="173150"/>
              <a:ext cx="365760" cy="366837"/>
              <a:chOff x="5183" y="1046"/>
              <a:chExt cx="340" cy="341"/>
            </a:xfrm>
            <a:solidFill>
              <a:schemeClr val="bg1">
                <a:lumMod val="75000"/>
              </a:schemeClr>
            </a:solidFill>
          </p:grpSpPr>
          <p:sp>
            <p:nvSpPr>
              <p:cNvPr id="56" name="Freeform 54">
                <a:extLst>
                  <a:ext uri="{FF2B5EF4-FFF2-40B4-BE49-F238E27FC236}">
                    <a16:creationId xmlns:a16="http://schemas.microsoft.com/office/drawing/2014/main" id="{775EB903-72DF-473F-A344-D6FD093B7C0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47" y="1110"/>
                <a:ext cx="212" cy="213"/>
              </a:xfrm>
              <a:custGeom>
                <a:avLst/>
                <a:gdLst>
                  <a:gd name="T0" fmla="*/ 160 w 320"/>
                  <a:gd name="T1" fmla="*/ 0 h 320"/>
                  <a:gd name="T2" fmla="*/ 0 w 320"/>
                  <a:gd name="T3" fmla="*/ 160 h 320"/>
                  <a:gd name="T4" fmla="*/ 160 w 320"/>
                  <a:gd name="T5" fmla="*/ 320 h 320"/>
                  <a:gd name="T6" fmla="*/ 320 w 320"/>
                  <a:gd name="T7" fmla="*/ 160 h 320"/>
                  <a:gd name="T8" fmla="*/ 160 w 320"/>
                  <a:gd name="T9" fmla="*/ 0 h 320"/>
                  <a:gd name="T10" fmla="*/ 283 w 320"/>
                  <a:gd name="T11" fmla="*/ 224 h 320"/>
                  <a:gd name="T12" fmla="*/ 218 w 320"/>
                  <a:gd name="T13" fmla="*/ 224 h 320"/>
                  <a:gd name="T14" fmla="*/ 223 w 320"/>
                  <a:gd name="T15" fmla="*/ 170 h 320"/>
                  <a:gd name="T16" fmla="*/ 298 w 320"/>
                  <a:gd name="T17" fmla="*/ 170 h 320"/>
                  <a:gd name="T18" fmla="*/ 283 w 320"/>
                  <a:gd name="T19" fmla="*/ 224 h 320"/>
                  <a:gd name="T20" fmla="*/ 160 w 320"/>
                  <a:gd name="T21" fmla="*/ 298 h 320"/>
                  <a:gd name="T22" fmla="*/ 127 w 320"/>
                  <a:gd name="T23" fmla="*/ 245 h 320"/>
                  <a:gd name="T24" fmla="*/ 192 w 320"/>
                  <a:gd name="T25" fmla="*/ 245 h 320"/>
                  <a:gd name="T26" fmla="*/ 160 w 320"/>
                  <a:gd name="T27" fmla="*/ 298 h 320"/>
                  <a:gd name="T28" fmla="*/ 122 w 320"/>
                  <a:gd name="T29" fmla="*/ 224 h 320"/>
                  <a:gd name="T30" fmla="*/ 117 w 320"/>
                  <a:gd name="T31" fmla="*/ 170 h 320"/>
                  <a:gd name="T32" fmla="*/ 202 w 320"/>
                  <a:gd name="T33" fmla="*/ 170 h 320"/>
                  <a:gd name="T34" fmla="*/ 197 w 320"/>
                  <a:gd name="T35" fmla="*/ 224 h 320"/>
                  <a:gd name="T36" fmla="*/ 122 w 320"/>
                  <a:gd name="T37" fmla="*/ 224 h 320"/>
                  <a:gd name="T38" fmla="*/ 22 w 320"/>
                  <a:gd name="T39" fmla="*/ 170 h 320"/>
                  <a:gd name="T40" fmla="*/ 96 w 320"/>
                  <a:gd name="T41" fmla="*/ 170 h 320"/>
                  <a:gd name="T42" fmla="*/ 101 w 320"/>
                  <a:gd name="T43" fmla="*/ 224 h 320"/>
                  <a:gd name="T44" fmla="*/ 37 w 320"/>
                  <a:gd name="T45" fmla="*/ 224 h 320"/>
                  <a:gd name="T46" fmla="*/ 22 w 320"/>
                  <a:gd name="T47" fmla="*/ 170 h 320"/>
                  <a:gd name="T48" fmla="*/ 37 w 320"/>
                  <a:gd name="T49" fmla="*/ 96 h 320"/>
                  <a:gd name="T50" fmla="*/ 101 w 320"/>
                  <a:gd name="T51" fmla="*/ 96 h 320"/>
                  <a:gd name="T52" fmla="*/ 96 w 320"/>
                  <a:gd name="T53" fmla="*/ 149 h 320"/>
                  <a:gd name="T54" fmla="*/ 22 w 320"/>
                  <a:gd name="T55" fmla="*/ 149 h 320"/>
                  <a:gd name="T56" fmla="*/ 37 w 320"/>
                  <a:gd name="T57" fmla="*/ 96 h 320"/>
                  <a:gd name="T58" fmla="*/ 160 w 320"/>
                  <a:gd name="T59" fmla="*/ 21 h 320"/>
                  <a:gd name="T60" fmla="*/ 192 w 320"/>
                  <a:gd name="T61" fmla="*/ 74 h 320"/>
                  <a:gd name="T62" fmla="*/ 127 w 320"/>
                  <a:gd name="T63" fmla="*/ 74 h 320"/>
                  <a:gd name="T64" fmla="*/ 160 w 320"/>
                  <a:gd name="T65" fmla="*/ 21 h 320"/>
                  <a:gd name="T66" fmla="*/ 197 w 320"/>
                  <a:gd name="T67" fmla="*/ 96 h 320"/>
                  <a:gd name="T68" fmla="*/ 202 w 320"/>
                  <a:gd name="T69" fmla="*/ 149 h 320"/>
                  <a:gd name="T70" fmla="*/ 117 w 320"/>
                  <a:gd name="T71" fmla="*/ 149 h 320"/>
                  <a:gd name="T72" fmla="*/ 122 w 320"/>
                  <a:gd name="T73" fmla="*/ 96 h 320"/>
                  <a:gd name="T74" fmla="*/ 197 w 320"/>
                  <a:gd name="T75" fmla="*/ 96 h 320"/>
                  <a:gd name="T76" fmla="*/ 223 w 320"/>
                  <a:gd name="T77" fmla="*/ 149 h 320"/>
                  <a:gd name="T78" fmla="*/ 218 w 320"/>
                  <a:gd name="T79" fmla="*/ 96 h 320"/>
                  <a:gd name="T80" fmla="*/ 283 w 320"/>
                  <a:gd name="T81" fmla="*/ 96 h 320"/>
                  <a:gd name="T82" fmla="*/ 298 w 320"/>
                  <a:gd name="T83" fmla="*/ 149 h 320"/>
                  <a:gd name="T84" fmla="*/ 223 w 320"/>
                  <a:gd name="T85" fmla="*/ 149 h 320"/>
                  <a:gd name="T86" fmla="*/ 269 w 320"/>
                  <a:gd name="T87" fmla="*/ 74 h 320"/>
                  <a:gd name="T88" fmla="*/ 214 w 320"/>
                  <a:gd name="T89" fmla="*/ 74 h 320"/>
                  <a:gd name="T90" fmla="*/ 196 w 320"/>
                  <a:gd name="T91" fmla="*/ 26 h 320"/>
                  <a:gd name="T92" fmla="*/ 269 w 320"/>
                  <a:gd name="T93" fmla="*/ 74 h 320"/>
                  <a:gd name="T94" fmla="*/ 124 w 320"/>
                  <a:gd name="T95" fmla="*/ 26 h 320"/>
                  <a:gd name="T96" fmla="*/ 105 w 320"/>
                  <a:gd name="T97" fmla="*/ 74 h 320"/>
                  <a:gd name="T98" fmla="*/ 51 w 320"/>
                  <a:gd name="T99" fmla="*/ 74 h 320"/>
                  <a:gd name="T100" fmla="*/ 124 w 320"/>
                  <a:gd name="T101" fmla="*/ 26 h 320"/>
                  <a:gd name="T102" fmla="*/ 51 w 320"/>
                  <a:gd name="T103" fmla="*/ 245 h 320"/>
                  <a:gd name="T104" fmla="*/ 105 w 320"/>
                  <a:gd name="T105" fmla="*/ 245 h 320"/>
                  <a:gd name="T106" fmla="*/ 124 w 320"/>
                  <a:gd name="T107" fmla="*/ 293 h 320"/>
                  <a:gd name="T108" fmla="*/ 51 w 320"/>
                  <a:gd name="T109" fmla="*/ 245 h 320"/>
                  <a:gd name="T110" fmla="*/ 196 w 320"/>
                  <a:gd name="T111" fmla="*/ 293 h 320"/>
                  <a:gd name="T112" fmla="*/ 214 w 320"/>
                  <a:gd name="T113" fmla="*/ 245 h 320"/>
                  <a:gd name="T114" fmla="*/ 269 w 320"/>
                  <a:gd name="T115" fmla="*/ 245 h 320"/>
                  <a:gd name="T116" fmla="*/ 196 w 320"/>
                  <a:gd name="T117" fmla="*/ 293 h 3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320" h="320">
                    <a:moveTo>
                      <a:pt x="160" y="0"/>
                    </a:moveTo>
                    <a:cubicBezTo>
                      <a:pt x="71" y="0"/>
                      <a:pt x="0" y="71"/>
                      <a:pt x="0" y="160"/>
                    </a:cubicBezTo>
                    <a:cubicBezTo>
                      <a:pt x="0" y="248"/>
                      <a:pt x="71" y="320"/>
                      <a:pt x="160" y="320"/>
                    </a:cubicBezTo>
                    <a:cubicBezTo>
                      <a:pt x="248" y="320"/>
                      <a:pt x="320" y="248"/>
                      <a:pt x="320" y="160"/>
                    </a:cubicBezTo>
                    <a:cubicBezTo>
                      <a:pt x="320" y="71"/>
                      <a:pt x="248" y="0"/>
                      <a:pt x="160" y="0"/>
                    </a:cubicBezTo>
                    <a:close/>
                    <a:moveTo>
                      <a:pt x="283" y="224"/>
                    </a:moveTo>
                    <a:cubicBezTo>
                      <a:pt x="218" y="224"/>
                      <a:pt x="218" y="224"/>
                      <a:pt x="218" y="224"/>
                    </a:cubicBezTo>
                    <a:cubicBezTo>
                      <a:pt x="221" y="207"/>
                      <a:pt x="223" y="188"/>
                      <a:pt x="223" y="170"/>
                    </a:cubicBezTo>
                    <a:cubicBezTo>
                      <a:pt x="298" y="170"/>
                      <a:pt x="298" y="170"/>
                      <a:pt x="298" y="170"/>
                    </a:cubicBezTo>
                    <a:cubicBezTo>
                      <a:pt x="296" y="189"/>
                      <a:pt x="291" y="207"/>
                      <a:pt x="283" y="224"/>
                    </a:cubicBezTo>
                    <a:close/>
                    <a:moveTo>
                      <a:pt x="160" y="298"/>
                    </a:moveTo>
                    <a:cubicBezTo>
                      <a:pt x="149" y="298"/>
                      <a:pt x="136" y="279"/>
                      <a:pt x="127" y="245"/>
                    </a:cubicBezTo>
                    <a:cubicBezTo>
                      <a:pt x="192" y="245"/>
                      <a:pt x="192" y="245"/>
                      <a:pt x="192" y="245"/>
                    </a:cubicBezTo>
                    <a:cubicBezTo>
                      <a:pt x="183" y="279"/>
                      <a:pt x="170" y="298"/>
                      <a:pt x="160" y="298"/>
                    </a:cubicBezTo>
                    <a:close/>
                    <a:moveTo>
                      <a:pt x="122" y="224"/>
                    </a:moveTo>
                    <a:cubicBezTo>
                      <a:pt x="120" y="208"/>
                      <a:pt x="118" y="190"/>
                      <a:pt x="117" y="170"/>
                    </a:cubicBezTo>
                    <a:cubicBezTo>
                      <a:pt x="202" y="170"/>
                      <a:pt x="202" y="170"/>
                      <a:pt x="202" y="170"/>
                    </a:cubicBezTo>
                    <a:cubicBezTo>
                      <a:pt x="202" y="190"/>
                      <a:pt x="200" y="208"/>
                      <a:pt x="197" y="224"/>
                    </a:cubicBezTo>
                    <a:lnTo>
                      <a:pt x="122" y="224"/>
                    </a:lnTo>
                    <a:close/>
                    <a:moveTo>
                      <a:pt x="22" y="170"/>
                    </a:moveTo>
                    <a:cubicBezTo>
                      <a:pt x="96" y="170"/>
                      <a:pt x="96" y="170"/>
                      <a:pt x="96" y="170"/>
                    </a:cubicBezTo>
                    <a:cubicBezTo>
                      <a:pt x="96" y="188"/>
                      <a:pt x="98" y="207"/>
                      <a:pt x="101" y="224"/>
                    </a:cubicBezTo>
                    <a:cubicBezTo>
                      <a:pt x="37" y="224"/>
                      <a:pt x="37" y="224"/>
                      <a:pt x="37" y="224"/>
                    </a:cubicBezTo>
                    <a:cubicBezTo>
                      <a:pt x="28" y="207"/>
                      <a:pt x="23" y="189"/>
                      <a:pt x="22" y="170"/>
                    </a:cubicBezTo>
                    <a:close/>
                    <a:moveTo>
                      <a:pt x="37" y="96"/>
                    </a:moveTo>
                    <a:cubicBezTo>
                      <a:pt x="101" y="96"/>
                      <a:pt x="101" y="96"/>
                      <a:pt x="101" y="96"/>
                    </a:cubicBezTo>
                    <a:cubicBezTo>
                      <a:pt x="98" y="113"/>
                      <a:pt x="96" y="131"/>
                      <a:pt x="96" y="149"/>
                    </a:cubicBezTo>
                    <a:cubicBezTo>
                      <a:pt x="22" y="149"/>
                      <a:pt x="22" y="149"/>
                      <a:pt x="22" y="149"/>
                    </a:cubicBezTo>
                    <a:cubicBezTo>
                      <a:pt x="23" y="130"/>
                      <a:pt x="28" y="112"/>
                      <a:pt x="37" y="96"/>
                    </a:cubicBezTo>
                    <a:close/>
                    <a:moveTo>
                      <a:pt x="160" y="21"/>
                    </a:moveTo>
                    <a:cubicBezTo>
                      <a:pt x="170" y="21"/>
                      <a:pt x="183" y="41"/>
                      <a:pt x="192" y="74"/>
                    </a:cubicBezTo>
                    <a:cubicBezTo>
                      <a:pt x="127" y="74"/>
                      <a:pt x="127" y="74"/>
                      <a:pt x="127" y="74"/>
                    </a:cubicBezTo>
                    <a:cubicBezTo>
                      <a:pt x="136" y="41"/>
                      <a:pt x="149" y="21"/>
                      <a:pt x="160" y="21"/>
                    </a:cubicBezTo>
                    <a:close/>
                    <a:moveTo>
                      <a:pt x="197" y="96"/>
                    </a:moveTo>
                    <a:cubicBezTo>
                      <a:pt x="200" y="111"/>
                      <a:pt x="202" y="129"/>
                      <a:pt x="202" y="149"/>
                    </a:cubicBezTo>
                    <a:cubicBezTo>
                      <a:pt x="117" y="149"/>
                      <a:pt x="117" y="149"/>
                      <a:pt x="117" y="149"/>
                    </a:cubicBezTo>
                    <a:cubicBezTo>
                      <a:pt x="118" y="129"/>
                      <a:pt x="120" y="111"/>
                      <a:pt x="122" y="96"/>
                    </a:cubicBezTo>
                    <a:lnTo>
                      <a:pt x="197" y="96"/>
                    </a:lnTo>
                    <a:close/>
                    <a:moveTo>
                      <a:pt x="223" y="149"/>
                    </a:moveTo>
                    <a:cubicBezTo>
                      <a:pt x="223" y="131"/>
                      <a:pt x="221" y="113"/>
                      <a:pt x="218" y="96"/>
                    </a:cubicBezTo>
                    <a:cubicBezTo>
                      <a:pt x="283" y="96"/>
                      <a:pt x="283" y="96"/>
                      <a:pt x="283" y="96"/>
                    </a:cubicBezTo>
                    <a:cubicBezTo>
                      <a:pt x="291" y="112"/>
                      <a:pt x="296" y="130"/>
                      <a:pt x="298" y="149"/>
                    </a:cubicBezTo>
                    <a:lnTo>
                      <a:pt x="223" y="149"/>
                    </a:lnTo>
                    <a:close/>
                    <a:moveTo>
                      <a:pt x="269" y="74"/>
                    </a:moveTo>
                    <a:cubicBezTo>
                      <a:pt x="214" y="74"/>
                      <a:pt x="214" y="74"/>
                      <a:pt x="214" y="74"/>
                    </a:cubicBezTo>
                    <a:cubicBezTo>
                      <a:pt x="210" y="55"/>
                      <a:pt x="203" y="39"/>
                      <a:pt x="196" y="26"/>
                    </a:cubicBezTo>
                    <a:cubicBezTo>
                      <a:pt x="225" y="34"/>
                      <a:pt x="251" y="51"/>
                      <a:pt x="269" y="74"/>
                    </a:cubicBezTo>
                    <a:close/>
                    <a:moveTo>
                      <a:pt x="124" y="26"/>
                    </a:moveTo>
                    <a:cubicBezTo>
                      <a:pt x="116" y="39"/>
                      <a:pt x="110" y="55"/>
                      <a:pt x="105" y="74"/>
                    </a:cubicBezTo>
                    <a:cubicBezTo>
                      <a:pt x="51" y="74"/>
                      <a:pt x="51" y="74"/>
                      <a:pt x="51" y="74"/>
                    </a:cubicBezTo>
                    <a:cubicBezTo>
                      <a:pt x="69" y="51"/>
                      <a:pt x="94" y="34"/>
                      <a:pt x="124" y="26"/>
                    </a:cubicBezTo>
                    <a:close/>
                    <a:moveTo>
                      <a:pt x="51" y="245"/>
                    </a:moveTo>
                    <a:cubicBezTo>
                      <a:pt x="105" y="245"/>
                      <a:pt x="105" y="245"/>
                      <a:pt x="105" y="245"/>
                    </a:cubicBezTo>
                    <a:cubicBezTo>
                      <a:pt x="110" y="264"/>
                      <a:pt x="116" y="281"/>
                      <a:pt x="124" y="293"/>
                    </a:cubicBezTo>
                    <a:cubicBezTo>
                      <a:pt x="94" y="285"/>
                      <a:pt x="69" y="268"/>
                      <a:pt x="51" y="245"/>
                    </a:cubicBezTo>
                    <a:close/>
                    <a:moveTo>
                      <a:pt x="196" y="293"/>
                    </a:moveTo>
                    <a:cubicBezTo>
                      <a:pt x="203" y="281"/>
                      <a:pt x="210" y="264"/>
                      <a:pt x="214" y="245"/>
                    </a:cubicBezTo>
                    <a:cubicBezTo>
                      <a:pt x="269" y="245"/>
                      <a:pt x="269" y="245"/>
                      <a:pt x="269" y="245"/>
                    </a:cubicBezTo>
                    <a:cubicBezTo>
                      <a:pt x="251" y="268"/>
                      <a:pt x="225" y="285"/>
                      <a:pt x="196" y="29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57" name="Freeform 55">
                <a:extLst>
                  <a:ext uri="{FF2B5EF4-FFF2-40B4-BE49-F238E27FC236}">
                    <a16:creationId xmlns:a16="http://schemas.microsoft.com/office/drawing/2014/main" id="{18071462-40EF-4636-9CB6-2646FAE8FE0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83" y="1046"/>
                <a:ext cx="340" cy="341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grpSp>
          <p:nvGrpSpPr>
            <p:cNvPr id="47" name="Group 46">
              <a:extLst>
                <a:ext uri="{FF2B5EF4-FFF2-40B4-BE49-F238E27FC236}">
                  <a16:creationId xmlns:a16="http://schemas.microsoft.com/office/drawing/2014/main" id="{50A1B086-0B13-45F8-9936-4DBCD17BC885}"/>
                </a:ext>
              </a:extLst>
            </p:cNvPr>
            <p:cNvGrpSpPr/>
            <p:nvPr/>
          </p:nvGrpSpPr>
          <p:grpSpPr>
            <a:xfrm>
              <a:off x="11116624" y="173688"/>
              <a:ext cx="365760" cy="365760"/>
              <a:chOff x="6806797" y="2076826"/>
              <a:chExt cx="685804" cy="685804"/>
            </a:xfrm>
            <a:solidFill>
              <a:schemeClr val="bg1">
                <a:lumMod val="75000"/>
              </a:schemeClr>
            </a:solidFill>
          </p:grpSpPr>
          <p:sp>
            <p:nvSpPr>
              <p:cNvPr id="54" name="Freeform 623">
                <a:extLst>
                  <a:ext uri="{FF2B5EF4-FFF2-40B4-BE49-F238E27FC236}">
                    <a16:creationId xmlns:a16="http://schemas.microsoft.com/office/drawing/2014/main" id="{B45D8E45-87AB-4655-A0A1-DB027E334D8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06797" y="2076826"/>
                <a:ext cx="685804" cy="685804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pic>
            <p:nvPicPr>
              <p:cNvPr id="55" name="Graphic 54" descr="Target">
                <a:extLst>
                  <a:ext uri="{FF2B5EF4-FFF2-40B4-BE49-F238E27FC236}">
                    <a16:creationId xmlns:a16="http://schemas.microsoft.com/office/drawing/2014/main" id="{B6BA2F60-8613-43C7-AD1E-EBC19EC7A72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6852519" y="2122548"/>
                <a:ext cx="594360" cy="594360"/>
              </a:xfrm>
              <a:prstGeom prst="rect">
                <a:avLst/>
              </a:prstGeom>
            </p:spPr>
          </p:pic>
        </p:grpSp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CC80E046-9E13-48C7-8566-22F90F1C35EC}"/>
                </a:ext>
              </a:extLst>
            </p:cNvPr>
            <p:cNvGrpSpPr/>
            <p:nvPr/>
          </p:nvGrpSpPr>
          <p:grpSpPr>
            <a:xfrm>
              <a:off x="11538918" y="173688"/>
              <a:ext cx="365760" cy="365760"/>
              <a:chOff x="6806753" y="3091011"/>
              <a:chExt cx="685800" cy="685800"/>
            </a:xfrm>
          </p:grpSpPr>
          <p:sp>
            <p:nvSpPr>
              <p:cNvPr id="52" name="Freeform 727">
                <a:extLst>
                  <a:ext uri="{FF2B5EF4-FFF2-40B4-BE49-F238E27FC236}">
                    <a16:creationId xmlns:a16="http://schemas.microsoft.com/office/drawing/2014/main" id="{7085F320-EC21-4F82-A622-25D87910AE0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06753" y="3091011"/>
                <a:ext cx="685800" cy="685800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solidFill>
                <a:srgbClr val="0878AA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pic>
            <p:nvPicPr>
              <p:cNvPr id="53" name="Graphic 52" descr="Head with gears">
                <a:extLst>
                  <a:ext uri="{FF2B5EF4-FFF2-40B4-BE49-F238E27FC236}">
                    <a16:creationId xmlns:a16="http://schemas.microsoft.com/office/drawing/2014/main" id="{9CCFD59E-5E79-4E11-AF89-AE8B4EED813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>
                <a:off x="6932592" y="3216850"/>
                <a:ext cx="434123" cy="434123"/>
              </a:xfrm>
              <a:prstGeom prst="rect">
                <a:avLst/>
              </a:prstGeom>
            </p:spPr>
          </p:pic>
        </p:grp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8A112A9F-8068-43C1-B351-1B979019FB7D}"/>
                </a:ext>
              </a:extLst>
            </p:cNvPr>
            <p:cNvGrpSpPr/>
            <p:nvPr/>
          </p:nvGrpSpPr>
          <p:grpSpPr>
            <a:xfrm>
              <a:off x="10694331" y="173688"/>
              <a:ext cx="365760" cy="365760"/>
              <a:chOff x="6806753" y="2142199"/>
              <a:chExt cx="685804" cy="685804"/>
            </a:xfrm>
            <a:solidFill>
              <a:schemeClr val="bg1">
                <a:lumMod val="75000"/>
              </a:schemeClr>
            </a:solidFill>
          </p:grpSpPr>
          <p:sp>
            <p:nvSpPr>
              <p:cNvPr id="50" name="Freeform 623">
                <a:extLst>
                  <a:ext uri="{FF2B5EF4-FFF2-40B4-BE49-F238E27FC236}">
                    <a16:creationId xmlns:a16="http://schemas.microsoft.com/office/drawing/2014/main" id="{2EABCBA1-F1C4-4306-BBF9-F7454810ABF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06753" y="2142199"/>
                <a:ext cx="685804" cy="685804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pic>
            <p:nvPicPr>
              <p:cNvPr id="51" name="Graphic 50" descr="Badge Tick outline">
                <a:extLst>
                  <a:ext uri="{FF2B5EF4-FFF2-40B4-BE49-F238E27FC236}">
                    <a16:creationId xmlns:a16="http://schemas.microsoft.com/office/drawing/2014/main" id="{5023C525-71AA-4160-8C84-18544D5CBE3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6834429" y="2170883"/>
                <a:ext cx="628436" cy="628436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123546789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7016D6-71EF-470F-BD75-3B45D1854D43}"/>
              </a:ext>
            </a:extLst>
          </p:cNvPr>
          <p:cNvSpPr/>
          <p:nvPr/>
        </p:nvSpPr>
        <p:spPr>
          <a:xfrm>
            <a:off x="0" y="-1"/>
            <a:ext cx="12192000" cy="6857999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Open Sans" panose="020B0606030504020204" pitchFamily="34" charset="0"/>
            </a:endParaRPr>
          </a:p>
        </p:txBody>
      </p:sp>
      <p:pic>
        <p:nvPicPr>
          <p:cNvPr id="6" name="Picture Placeholder 5" descr="A picture containing web&#10;&#10;Description automatically generated">
            <a:extLst>
              <a:ext uri="{FF2B5EF4-FFF2-40B4-BE49-F238E27FC236}">
                <a16:creationId xmlns:a16="http://schemas.microsoft.com/office/drawing/2014/main" id="{1C83148D-F3C0-43CB-8419-C4A77366E9E2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3">
            <a:duotone>
              <a:prstClr val="black"/>
              <a:srgbClr val="13A2DE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51" t="2549" r="11250" b="2549"/>
          <a:stretch/>
        </p:blipFill>
        <p:spPr>
          <a:xfrm>
            <a:off x="2769337" y="641875"/>
            <a:ext cx="8819768" cy="5574246"/>
          </a:xfrm>
        </p:spPr>
      </p:pic>
      <p:sp>
        <p:nvSpPr>
          <p:cNvPr id="16" name="Title 3">
            <a:extLst>
              <a:ext uri="{FF2B5EF4-FFF2-40B4-BE49-F238E27FC236}">
                <a16:creationId xmlns:a16="http://schemas.microsoft.com/office/drawing/2014/main" id="{71CC6877-37EB-4319-8B4B-BF7B394326C8}"/>
              </a:ext>
            </a:extLst>
          </p:cNvPr>
          <p:cNvSpPr txBox="1">
            <a:spLocks/>
          </p:cNvSpPr>
          <p:nvPr/>
        </p:nvSpPr>
        <p:spPr>
          <a:xfrm>
            <a:off x="921933" y="4614787"/>
            <a:ext cx="4687757" cy="897983"/>
          </a:xfrm>
          <a:prstGeom prst="rect">
            <a:avLst/>
          </a:prstGeom>
        </p:spPr>
        <p:txBody>
          <a:bodyPr vert="horz" lIns="0" tIns="45720" rIns="91440" bIns="0" rtlCol="0" anchor="b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800" b="1" i="0" kern="1200" cap="none" spc="-100" baseline="0">
                <a:solidFill>
                  <a:schemeClr val="tx1"/>
                </a:solidFill>
                <a:latin typeface="+mn-lt"/>
                <a:ea typeface="Bebas Neue" charset="0"/>
                <a:cs typeface="Chronicle Display Black"/>
              </a:defRPr>
            </a:lvl1pPr>
          </a:lstStyle>
          <a:p>
            <a:r>
              <a:rPr lang="en-US" sz="3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ableau </a:t>
            </a:r>
            <a:br>
              <a:rPr lang="en-US" sz="3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en-US" sz="3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evelopment</a:t>
            </a:r>
          </a:p>
          <a:p>
            <a:endParaRPr lang="en-US" sz="16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r>
              <a:rPr lang="en-US" sz="3200" i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ile Setup &amp; </a:t>
            </a:r>
            <a:br>
              <a:rPr lang="en-US" sz="3200" i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en-US" sz="3200" i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ata Connection</a:t>
            </a:r>
          </a:p>
        </p:txBody>
      </p:sp>
    </p:spTree>
    <p:extLst>
      <p:ext uri="{BB962C8B-B14F-4D97-AF65-F5344CB8AC3E}">
        <p14:creationId xmlns:p14="http://schemas.microsoft.com/office/powerpoint/2010/main" val="1021459540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5DAED6B1-6292-6247-980F-02C1909970F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9900" y="736689"/>
            <a:ext cx="11252200" cy="283090"/>
          </a:xfrm>
        </p:spPr>
        <p:txBody>
          <a:bodyPr/>
          <a:lstStyle/>
          <a:p>
            <a:r>
              <a:rPr lang="en-US" sz="1200" dirty="0"/>
              <a:t>Software and data connections required to run live repor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3EC109-DCC4-D84A-96DD-9E1DD06C1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3563"/>
          </a:xfrm>
        </p:spPr>
        <p:txBody>
          <a:bodyPr/>
          <a:lstStyle/>
          <a:p>
            <a:r>
              <a:rPr lang="en-US" b="1" spc="0" dirty="0"/>
              <a:t>File Setup | </a:t>
            </a:r>
            <a:r>
              <a:rPr lang="en-US" spc="0" dirty="0"/>
              <a:t>System Requirements</a:t>
            </a:r>
            <a:endParaRPr lang="en-US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E6DFAAE-C9C6-9D46-B795-9BC79C578A16}"/>
              </a:ext>
            </a:extLst>
          </p:cNvPr>
          <p:cNvGrpSpPr/>
          <p:nvPr/>
        </p:nvGrpSpPr>
        <p:grpSpPr>
          <a:xfrm>
            <a:off x="10272038" y="173150"/>
            <a:ext cx="1632640" cy="366837"/>
            <a:chOff x="10272038" y="173150"/>
            <a:chExt cx="1632640" cy="366837"/>
          </a:xfrm>
        </p:grpSpPr>
        <p:grpSp>
          <p:nvGrpSpPr>
            <p:cNvPr id="7" name="Group 53">
              <a:extLst>
                <a:ext uri="{FF2B5EF4-FFF2-40B4-BE49-F238E27FC236}">
                  <a16:creationId xmlns:a16="http://schemas.microsoft.com/office/drawing/2014/main" id="{6C2C28C1-636A-1340-B840-A66A9F1DF6AB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0272038" y="173150"/>
              <a:ext cx="365760" cy="366837"/>
              <a:chOff x="5183" y="1046"/>
              <a:chExt cx="340" cy="341"/>
            </a:xfrm>
            <a:solidFill>
              <a:schemeClr val="bg1">
                <a:lumMod val="75000"/>
              </a:schemeClr>
            </a:solidFill>
          </p:grpSpPr>
          <p:sp>
            <p:nvSpPr>
              <p:cNvPr id="17" name="Freeform 54">
                <a:extLst>
                  <a:ext uri="{FF2B5EF4-FFF2-40B4-BE49-F238E27FC236}">
                    <a16:creationId xmlns:a16="http://schemas.microsoft.com/office/drawing/2014/main" id="{B3E3306A-20E7-4246-B14C-099787069D1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47" y="1110"/>
                <a:ext cx="212" cy="213"/>
              </a:xfrm>
              <a:custGeom>
                <a:avLst/>
                <a:gdLst>
                  <a:gd name="T0" fmla="*/ 160 w 320"/>
                  <a:gd name="T1" fmla="*/ 0 h 320"/>
                  <a:gd name="T2" fmla="*/ 0 w 320"/>
                  <a:gd name="T3" fmla="*/ 160 h 320"/>
                  <a:gd name="T4" fmla="*/ 160 w 320"/>
                  <a:gd name="T5" fmla="*/ 320 h 320"/>
                  <a:gd name="T6" fmla="*/ 320 w 320"/>
                  <a:gd name="T7" fmla="*/ 160 h 320"/>
                  <a:gd name="T8" fmla="*/ 160 w 320"/>
                  <a:gd name="T9" fmla="*/ 0 h 320"/>
                  <a:gd name="T10" fmla="*/ 283 w 320"/>
                  <a:gd name="T11" fmla="*/ 224 h 320"/>
                  <a:gd name="T12" fmla="*/ 218 w 320"/>
                  <a:gd name="T13" fmla="*/ 224 h 320"/>
                  <a:gd name="T14" fmla="*/ 223 w 320"/>
                  <a:gd name="T15" fmla="*/ 170 h 320"/>
                  <a:gd name="T16" fmla="*/ 298 w 320"/>
                  <a:gd name="T17" fmla="*/ 170 h 320"/>
                  <a:gd name="T18" fmla="*/ 283 w 320"/>
                  <a:gd name="T19" fmla="*/ 224 h 320"/>
                  <a:gd name="T20" fmla="*/ 160 w 320"/>
                  <a:gd name="T21" fmla="*/ 298 h 320"/>
                  <a:gd name="T22" fmla="*/ 127 w 320"/>
                  <a:gd name="T23" fmla="*/ 245 h 320"/>
                  <a:gd name="T24" fmla="*/ 192 w 320"/>
                  <a:gd name="T25" fmla="*/ 245 h 320"/>
                  <a:gd name="T26" fmla="*/ 160 w 320"/>
                  <a:gd name="T27" fmla="*/ 298 h 320"/>
                  <a:gd name="T28" fmla="*/ 122 w 320"/>
                  <a:gd name="T29" fmla="*/ 224 h 320"/>
                  <a:gd name="T30" fmla="*/ 117 w 320"/>
                  <a:gd name="T31" fmla="*/ 170 h 320"/>
                  <a:gd name="T32" fmla="*/ 202 w 320"/>
                  <a:gd name="T33" fmla="*/ 170 h 320"/>
                  <a:gd name="T34" fmla="*/ 197 w 320"/>
                  <a:gd name="T35" fmla="*/ 224 h 320"/>
                  <a:gd name="T36" fmla="*/ 122 w 320"/>
                  <a:gd name="T37" fmla="*/ 224 h 320"/>
                  <a:gd name="T38" fmla="*/ 22 w 320"/>
                  <a:gd name="T39" fmla="*/ 170 h 320"/>
                  <a:gd name="T40" fmla="*/ 96 w 320"/>
                  <a:gd name="T41" fmla="*/ 170 h 320"/>
                  <a:gd name="T42" fmla="*/ 101 w 320"/>
                  <a:gd name="T43" fmla="*/ 224 h 320"/>
                  <a:gd name="T44" fmla="*/ 37 w 320"/>
                  <a:gd name="T45" fmla="*/ 224 h 320"/>
                  <a:gd name="T46" fmla="*/ 22 w 320"/>
                  <a:gd name="T47" fmla="*/ 170 h 320"/>
                  <a:gd name="T48" fmla="*/ 37 w 320"/>
                  <a:gd name="T49" fmla="*/ 96 h 320"/>
                  <a:gd name="T50" fmla="*/ 101 w 320"/>
                  <a:gd name="T51" fmla="*/ 96 h 320"/>
                  <a:gd name="T52" fmla="*/ 96 w 320"/>
                  <a:gd name="T53" fmla="*/ 149 h 320"/>
                  <a:gd name="T54" fmla="*/ 22 w 320"/>
                  <a:gd name="T55" fmla="*/ 149 h 320"/>
                  <a:gd name="T56" fmla="*/ 37 w 320"/>
                  <a:gd name="T57" fmla="*/ 96 h 320"/>
                  <a:gd name="T58" fmla="*/ 160 w 320"/>
                  <a:gd name="T59" fmla="*/ 21 h 320"/>
                  <a:gd name="T60" fmla="*/ 192 w 320"/>
                  <a:gd name="T61" fmla="*/ 74 h 320"/>
                  <a:gd name="T62" fmla="*/ 127 w 320"/>
                  <a:gd name="T63" fmla="*/ 74 h 320"/>
                  <a:gd name="T64" fmla="*/ 160 w 320"/>
                  <a:gd name="T65" fmla="*/ 21 h 320"/>
                  <a:gd name="T66" fmla="*/ 197 w 320"/>
                  <a:gd name="T67" fmla="*/ 96 h 320"/>
                  <a:gd name="T68" fmla="*/ 202 w 320"/>
                  <a:gd name="T69" fmla="*/ 149 h 320"/>
                  <a:gd name="T70" fmla="*/ 117 w 320"/>
                  <a:gd name="T71" fmla="*/ 149 h 320"/>
                  <a:gd name="T72" fmla="*/ 122 w 320"/>
                  <a:gd name="T73" fmla="*/ 96 h 320"/>
                  <a:gd name="T74" fmla="*/ 197 w 320"/>
                  <a:gd name="T75" fmla="*/ 96 h 320"/>
                  <a:gd name="T76" fmla="*/ 223 w 320"/>
                  <a:gd name="T77" fmla="*/ 149 h 320"/>
                  <a:gd name="T78" fmla="*/ 218 w 320"/>
                  <a:gd name="T79" fmla="*/ 96 h 320"/>
                  <a:gd name="T80" fmla="*/ 283 w 320"/>
                  <a:gd name="T81" fmla="*/ 96 h 320"/>
                  <a:gd name="T82" fmla="*/ 298 w 320"/>
                  <a:gd name="T83" fmla="*/ 149 h 320"/>
                  <a:gd name="T84" fmla="*/ 223 w 320"/>
                  <a:gd name="T85" fmla="*/ 149 h 320"/>
                  <a:gd name="T86" fmla="*/ 269 w 320"/>
                  <a:gd name="T87" fmla="*/ 74 h 320"/>
                  <a:gd name="T88" fmla="*/ 214 w 320"/>
                  <a:gd name="T89" fmla="*/ 74 h 320"/>
                  <a:gd name="T90" fmla="*/ 196 w 320"/>
                  <a:gd name="T91" fmla="*/ 26 h 320"/>
                  <a:gd name="T92" fmla="*/ 269 w 320"/>
                  <a:gd name="T93" fmla="*/ 74 h 320"/>
                  <a:gd name="T94" fmla="*/ 124 w 320"/>
                  <a:gd name="T95" fmla="*/ 26 h 320"/>
                  <a:gd name="T96" fmla="*/ 105 w 320"/>
                  <a:gd name="T97" fmla="*/ 74 h 320"/>
                  <a:gd name="T98" fmla="*/ 51 w 320"/>
                  <a:gd name="T99" fmla="*/ 74 h 320"/>
                  <a:gd name="T100" fmla="*/ 124 w 320"/>
                  <a:gd name="T101" fmla="*/ 26 h 320"/>
                  <a:gd name="T102" fmla="*/ 51 w 320"/>
                  <a:gd name="T103" fmla="*/ 245 h 320"/>
                  <a:gd name="T104" fmla="*/ 105 w 320"/>
                  <a:gd name="T105" fmla="*/ 245 h 320"/>
                  <a:gd name="T106" fmla="*/ 124 w 320"/>
                  <a:gd name="T107" fmla="*/ 293 h 320"/>
                  <a:gd name="T108" fmla="*/ 51 w 320"/>
                  <a:gd name="T109" fmla="*/ 245 h 320"/>
                  <a:gd name="T110" fmla="*/ 196 w 320"/>
                  <a:gd name="T111" fmla="*/ 293 h 320"/>
                  <a:gd name="T112" fmla="*/ 214 w 320"/>
                  <a:gd name="T113" fmla="*/ 245 h 320"/>
                  <a:gd name="T114" fmla="*/ 269 w 320"/>
                  <a:gd name="T115" fmla="*/ 245 h 320"/>
                  <a:gd name="T116" fmla="*/ 196 w 320"/>
                  <a:gd name="T117" fmla="*/ 293 h 3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320" h="320">
                    <a:moveTo>
                      <a:pt x="160" y="0"/>
                    </a:moveTo>
                    <a:cubicBezTo>
                      <a:pt x="71" y="0"/>
                      <a:pt x="0" y="71"/>
                      <a:pt x="0" y="160"/>
                    </a:cubicBezTo>
                    <a:cubicBezTo>
                      <a:pt x="0" y="248"/>
                      <a:pt x="71" y="320"/>
                      <a:pt x="160" y="320"/>
                    </a:cubicBezTo>
                    <a:cubicBezTo>
                      <a:pt x="248" y="320"/>
                      <a:pt x="320" y="248"/>
                      <a:pt x="320" y="160"/>
                    </a:cubicBezTo>
                    <a:cubicBezTo>
                      <a:pt x="320" y="71"/>
                      <a:pt x="248" y="0"/>
                      <a:pt x="160" y="0"/>
                    </a:cubicBezTo>
                    <a:close/>
                    <a:moveTo>
                      <a:pt x="283" y="224"/>
                    </a:moveTo>
                    <a:cubicBezTo>
                      <a:pt x="218" y="224"/>
                      <a:pt x="218" y="224"/>
                      <a:pt x="218" y="224"/>
                    </a:cubicBezTo>
                    <a:cubicBezTo>
                      <a:pt x="221" y="207"/>
                      <a:pt x="223" y="188"/>
                      <a:pt x="223" y="170"/>
                    </a:cubicBezTo>
                    <a:cubicBezTo>
                      <a:pt x="298" y="170"/>
                      <a:pt x="298" y="170"/>
                      <a:pt x="298" y="170"/>
                    </a:cubicBezTo>
                    <a:cubicBezTo>
                      <a:pt x="296" y="189"/>
                      <a:pt x="291" y="207"/>
                      <a:pt x="283" y="224"/>
                    </a:cubicBezTo>
                    <a:close/>
                    <a:moveTo>
                      <a:pt x="160" y="298"/>
                    </a:moveTo>
                    <a:cubicBezTo>
                      <a:pt x="149" y="298"/>
                      <a:pt x="136" y="279"/>
                      <a:pt x="127" y="245"/>
                    </a:cubicBezTo>
                    <a:cubicBezTo>
                      <a:pt x="192" y="245"/>
                      <a:pt x="192" y="245"/>
                      <a:pt x="192" y="245"/>
                    </a:cubicBezTo>
                    <a:cubicBezTo>
                      <a:pt x="183" y="279"/>
                      <a:pt x="170" y="298"/>
                      <a:pt x="160" y="298"/>
                    </a:cubicBezTo>
                    <a:close/>
                    <a:moveTo>
                      <a:pt x="122" y="224"/>
                    </a:moveTo>
                    <a:cubicBezTo>
                      <a:pt x="120" y="208"/>
                      <a:pt x="118" y="190"/>
                      <a:pt x="117" y="170"/>
                    </a:cubicBezTo>
                    <a:cubicBezTo>
                      <a:pt x="202" y="170"/>
                      <a:pt x="202" y="170"/>
                      <a:pt x="202" y="170"/>
                    </a:cubicBezTo>
                    <a:cubicBezTo>
                      <a:pt x="202" y="190"/>
                      <a:pt x="200" y="208"/>
                      <a:pt x="197" y="224"/>
                    </a:cubicBezTo>
                    <a:lnTo>
                      <a:pt x="122" y="224"/>
                    </a:lnTo>
                    <a:close/>
                    <a:moveTo>
                      <a:pt x="22" y="170"/>
                    </a:moveTo>
                    <a:cubicBezTo>
                      <a:pt x="96" y="170"/>
                      <a:pt x="96" y="170"/>
                      <a:pt x="96" y="170"/>
                    </a:cubicBezTo>
                    <a:cubicBezTo>
                      <a:pt x="96" y="188"/>
                      <a:pt x="98" y="207"/>
                      <a:pt x="101" y="224"/>
                    </a:cubicBezTo>
                    <a:cubicBezTo>
                      <a:pt x="37" y="224"/>
                      <a:pt x="37" y="224"/>
                      <a:pt x="37" y="224"/>
                    </a:cubicBezTo>
                    <a:cubicBezTo>
                      <a:pt x="28" y="207"/>
                      <a:pt x="23" y="189"/>
                      <a:pt x="22" y="170"/>
                    </a:cubicBezTo>
                    <a:close/>
                    <a:moveTo>
                      <a:pt x="37" y="96"/>
                    </a:moveTo>
                    <a:cubicBezTo>
                      <a:pt x="101" y="96"/>
                      <a:pt x="101" y="96"/>
                      <a:pt x="101" y="96"/>
                    </a:cubicBezTo>
                    <a:cubicBezTo>
                      <a:pt x="98" y="113"/>
                      <a:pt x="96" y="131"/>
                      <a:pt x="96" y="149"/>
                    </a:cubicBezTo>
                    <a:cubicBezTo>
                      <a:pt x="22" y="149"/>
                      <a:pt x="22" y="149"/>
                      <a:pt x="22" y="149"/>
                    </a:cubicBezTo>
                    <a:cubicBezTo>
                      <a:pt x="23" y="130"/>
                      <a:pt x="28" y="112"/>
                      <a:pt x="37" y="96"/>
                    </a:cubicBezTo>
                    <a:close/>
                    <a:moveTo>
                      <a:pt x="160" y="21"/>
                    </a:moveTo>
                    <a:cubicBezTo>
                      <a:pt x="170" y="21"/>
                      <a:pt x="183" y="41"/>
                      <a:pt x="192" y="74"/>
                    </a:cubicBezTo>
                    <a:cubicBezTo>
                      <a:pt x="127" y="74"/>
                      <a:pt x="127" y="74"/>
                      <a:pt x="127" y="74"/>
                    </a:cubicBezTo>
                    <a:cubicBezTo>
                      <a:pt x="136" y="41"/>
                      <a:pt x="149" y="21"/>
                      <a:pt x="160" y="21"/>
                    </a:cubicBezTo>
                    <a:close/>
                    <a:moveTo>
                      <a:pt x="197" y="96"/>
                    </a:moveTo>
                    <a:cubicBezTo>
                      <a:pt x="200" y="111"/>
                      <a:pt x="202" y="129"/>
                      <a:pt x="202" y="149"/>
                    </a:cubicBezTo>
                    <a:cubicBezTo>
                      <a:pt x="117" y="149"/>
                      <a:pt x="117" y="149"/>
                      <a:pt x="117" y="149"/>
                    </a:cubicBezTo>
                    <a:cubicBezTo>
                      <a:pt x="118" y="129"/>
                      <a:pt x="120" y="111"/>
                      <a:pt x="122" y="96"/>
                    </a:cubicBezTo>
                    <a:lnTo>
                      <a:pt x="197" y="96"/>
                    </a:lnTo>
                    <a:close/>
                    <a:moveTo>
                      <a:pt x="223" y="149"/>
                    </a:moveTo>
                    <a:cubicBezTo>
                      <a:pt x="223" y="131"/>
                      <a:pt x="221" y="113"/>
                      <a:pt x="218" y="96"/>
                    </a:cubicBezTo>
                    <a:cubicBezTo>
                      <a:pt x="283" y="96"/>
                      <a:pt x="283" y="96"/>
                      <a:pt x="283" y="96"/>
                    </a:cubicBezTo>
                    <a:cubicBezTo>
                      <a:pt x="291" y="112"/>
                      <a:pt x="296" y="130"/>
                      <a:pt x="298" y="149"/>
                    </a:cubicBezTo>
                    <a:lnTo>
                      <a:pt x="223" y="149"/>
                    </a:lnTo>
                    <a:close/>
                    <a:moveTo>
                      <a:pt x="269" y="74"/>
                    </a:moveTo>
                    <a:cubicBezTo>
                      <a:pt x="214" y="74"/>
                      <a:pt x="214" y="74"/>
                      <a:pt x="214" y="74"/>
                    </a:cubicBezTo>
                    <a:cubicBezTo>
                      <a:pt x="210" y="55"/>
                      <a:pt x="203" y="39"/>
                      <a:pt x="196" y="26"/>
                    </a:cubicBezTo>
                    <a:cubicBezTo>
                      <a:pt x="225" y="34"/>
                      <a:pt x="251" y="51"/>
                      <a:pt x="269" y="74"/>
                    </a:cubicBezTo>
                    <a:close/>
                    <a:moveTo>
                      <a:pt x="124" y="26"/>
                    </a:moveTo>
                    <a:cubicBezTo>
                      <a:pt x="116" y="39"/>
                      <a:pt x="110" y="55"/>
                      <a:pt x="105" y="74"/>
                    </a:cubicBezTo>
                    <a:cubicBezTo>
                      <a:pt x="51" y="74"/>
                      <a:pt x="51" y="74"/>
                      <a:pt x="51" y="74"/>
                    </a:cubicBezTo>
                    <a:cubicBezTo>
                      <a:pt x="69" y="51"/>
                      <a:pt x="94" y="34"/>
                      <a:pt x="124" y="26"/>
                    </a:cubicBezTo>
                    <a:close/>
                    <a:moveTo>
                      <a:pt x="51" y="245"/>
                    </a:moveTo>
                    <a:cubicBezTo>
                      <a:pt x="105" y="245"/>
                      <a:pt x="105" y="245"/>
                      <a:pt x="105" y="245"/>
                    </a:cubicBezTo>
                    <a:cubicBezTo>
                      <a:pt x="110" y="264"/>
                      <a:pt x="116" y="281"/>
                      <a:pt x="124" y="293"/>
                    </a:cubicBezTo>
                    <a:cubicBezTo>
                      <a:pt x="94" y="285"/>
                      <a:pt x="69" y="268"/>
                      <a:pt x="51" y="245"/>
                    </a:cubicBezTo>
                    <a:close/>
                    <a:moveTo>
                      <a:pt x="196" y="293"/>
                    </a:moveTo>
                    <a:cubicBezTo>
                      <a:pt x="203" y="281"/>
                      <a:pt x="210" y="264"/>
                      <a:pt x="214" y="245"/>
                    </a:cubicBezTo>
                    <a:cubicBezTo>
                      <a:pt x="269" y="245"/>
                      <a:pt x="269" y="245"/>
                      <a:pt x="269" y="245"/>
                    </a:cubicBezTo>
                    <a:cubicBezTo>
                      <a:pt x="251" y="268"/>
                      <a:pt x="225" y="285"/>
                      <a:pt x="196" y="29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" name="Freeform 55">
                <a:extLst>
                  <a:ext uri="{FF2B5EF4-FFF2-40B4-BE49-F238E27FC236}">
                    <a16:creationId xmlns:a16="http://schemas.microsoft.com/office/drawing/2014/main" id="{C6023F7A-281F-C844-BA27-C60AACC50B4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83" y="1046"/>
                <a:ext cx="340" cy="341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A6030B49-ABBA-714D-8A34-EC40E7E014FC}"/>
                </a:ext>
              </a:extLst>
            </p:cNvPr>
            <p:cNvGrpSpPr/>
            <p:nvPr/>
          </p:nvGrpSpPr>
          <p:grpSpPr>
            <a:xfrm>
              <a:off x="11116624" y="173688"/>
              <a:ext cx="365760" cy="365760"/>
              <a:chOff x="6806797" y="2076826"/>
              <a:chExt cx="685804" cy="685804"/>
            </a:xfrm>
            <a:solidFill>
              <a:schemeClr val="bg1">
                <a:lumMod val="75000"/>
              </a:schemeClr>
            </a:solidFill>
          </p:grpSpPr>
          <p:sp>
            <p:nvSpPr>
              <p:cNvPr id="15" name="Freeform 623">
                <a:extLst>
                  <a:ext uri="{FF2B5EF4-FFF2-40B4-BE49-F238E27FC236}">
                    <a16:creationId xmlns:a16="http://schemas.microsoft.com/office/drawing/2014/main" id="{A4FD5118-54E1-AB45-A285-8EC74B0C2A0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06797" y="2076826"/>
                <a:ext cx="685804" cy="685804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pic>
            <p:nvPicPr>
              <p:cNvPr id="16" name="Graphic 15" descr="Target">
                <a:extLst>
                  <a:ext uri="{FF2B5EF4-FFF2-40B4-BE49-F238E27FC236}">
                    <a16:creationId xmlns:a16="http://schemas.microsoft.com/office/drawing/2014/main" id="{F49CF584-F4A5-1646-8AF3-B500F507B81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6852519" y="2122548"/>
                <a:ext cx="594360" cy="594360"/>
              </a:xfrm>
              <a:prstGeom prst="rect">
                <a:avLst/>
              </a:prstGeom>
            </p:spPr>
          </p:pic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7F71AAC5-B834-D242-BB6F-8A482CE61E94}"/>
                </a:ext>
              </a:extLst>
            </p:cNvPr>
            <p:cNvGrpSpPr/>
            <p:nvPr/>
          </p:nvGrpSpPr>
          <p:grpSpPr>
            <a:xfrm>
              <a:off x="11538918" y="173688"/>
              <a:ext cx="365760" cy="365760"/>
              <a:chOff x="6806753" y="3091011"/>
              <a:chExt cx="685800" cy="685800"/>
            </a:xfrm>
            <a:solidFill>
              <a:schemeClr val="bg1">
                <a:lumMod val="75000"/>
              </a:schemeClr>
            </a:solidFill>
          </p:grpSpPr>
          <p:sp>
            <p:nvSpPr>
              <p:cNvPr id="13" name="Freeform 727">
                <a:extLst>
                  <a:ext uri="{FF2B5EF4-FFF2-40B4-BE49-F238E27FC236}">
                    <a16:creationId xmlns:a16="http://schemas.microsoft.com/office/drawing/2014/main" id="{EB066332-9C45-C14B-878C-C484243F361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06753" y="3091011"/>
                <a:ext cx="685800" cy="685800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pic>
            <p:nvPicPr>
              <p:cNvPr id="14" name="Graphic 13" descr="Head with gears">
                <a:extLst>
                  <a:ext uri="{FF2B5EF4-FFF2-40B4-BE49-F238E27FC236}">
                    <a16:creationId xmlns:a16="http://schemas.microsoft.com/office/drawing/2014/main" id="{4B6CB2A0-BC97-DA40-A5FE-F028EA0A512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6932592" y="3216850"/>
                <a:ext cx="434123" cy="434123"/>
              </a:xfrm>
              <a:prstGeom prst="rect">
                <a:avLst/>
              </a:prstGeom>
            </p:spPr>
          </p:pic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BF1345B2-7AD3-6A47-B893-68DE43D819F9}"/>
                </a:ext>
              </a:extLst>
            </p:cNvPr>
            <p:cNvGrpSpPr/>
            <p:nvPr/>
          </p:nvGrpSpPr>
          <p:grpSpPr>
            <a:xfrm>
              <a:off x="10694331" y="173688"/>
              <a:ext cx="365760" cy="365760"/>
              <a:chOff x="6806753" y="2142199"/>
              <a:chExt cx="685804" cy="685804"/>
            </a:xfrm>
          </p:grpSpPr>
          <p:sp>
            <p:nvSpPr>
              <p:cNvPr id="11" name="Freeform 623">
                <a:extLst>
                  <a:ext uri="{FF2B5EF4-FFF2-40B4-BE49-F238E27FC236}">
                    <a16:creationId xmlns:a16="http://schemas.microsoft.com/office/drawing/2014/main" id="{15FD7F61-1750-854A-9E62-FE580DC1D5E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06753" y="2142199"/>
                <a:ext cx="685804" cy="685804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solidFill>
                <a:srgbClr val="36B9EE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pic>
            <p:nvPicPr>
              <p:cNvPr id="12" name="Graphic 11" descr="Badge Tick outline">
                <a:extLst>
                  <a:ext uri="{FF2B5EF4-FFF2-40B4-BE49-F238E27FC236}">
                    <a16:creationId xmlns:a16="http://schemas.microsoft.com/office/drawing/2014/main" id="{32933E97-681E-AD44-99AA-4FDAFC6D4F0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6834429" y="2170883"/>
                <a:ext cx="628436" cy="628436"/>
              </a:xfrm>
              <a:prstGeom prst="rect">
                <a:avLst/>
              </a:prstGeom>
            </p:spPr>
          </p:pic>
        </p:grp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A52B5BED-42D1-854D-9B07-C6CEA2B2EEE7}"/>
              </a:ext>
            </a:extLst>
          </p:cNvPr>
          <p:cNvGrpSpPr/>
          <p:nvPr/>
        </p:nvGrpSpPr>
        <p:grpSpPr>
          <a:xfrm>
            <a:off x="1353570" y="1822797"/>
            <a:ext cx="2261633" cy="246221"/>
            <a:chOff x="1353570" y="1822797"/>
            <a:chExt cx="2261633" cy="246221"/>
          </a:xfrm>
        </p:grpSpPr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68C005D5-CD6F-A04B-881C-7B54ECC4DC90}"/>
                </a:ext>
              </a:extLst>
            </p:cNvPr>
            <p:cNvCxnSpPr>
              <a:cxnSpLocks/>
            </p:cNvCxnSpPr>
            <p:nvPr/>
          </p:nvCxnSpPr>
          <p:spPr>
            <a:xfrm>
              <a:off x="1353570" y="2052987"/>
              <a:ext cx="2261633" cy="0"/>
            </a:xfrm>
            <a:prstGeom prst="line">
              <a:avLst/>
            </a:prstGeom>
            <a:ln w="76200">
              <a:solidFill>
                <a:srgbClr val="0878A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495BDA4B-312E-CA43-8609-17B60A2D6F97}"/>
                </a:ext>
              </a:extLst>
            </p:cNvPr>
            <p:cNvSpPr txBox="1"/>
            <p:nvPr/>
          </p:nvSpPr>
          <p:spPr>
            <a:xfrm>
              <a:off x="1364587" y="1822797"/>
              <a:ext cx="2250616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buSzPct val="100000"/>
              </a:pPr>
              <a:r>
                <a:rPr lang="en-US" sz="1600" b="1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System Requirements</a:t>
              </a: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437B5418-C13C-5B40-85DF-40C866AFAE1C}"/>
              </a:ext>
            </a:extLst>
          </p:cNvPr>
          <p:cNvGrpSpPr/>
          <p:nvPr/>
        </p:nvGrpSpPr>
        <p:grpSpPr>
          <a:xfrm>
            <a:off x="1574800" y="2400300"/>
            <a:ext cx="8167944" cy="1409914"/>
            <a:chOff x="1574800" y="2400300"/>
            <a:chExt cx="8167944" cy="1409914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4BE5B0EF-45B1-6E4A-91FF-38188A53ACCE}"/>
                </a:ext>
              </a:extLst>
            </p:cNvPr>
            <p:cNvGrpSpPr/>
            <p:nvPr/>
          </p:nvGrpSpPr>
          <p:grpSpPr>
            <a:xfrm>
              <a:off x="1574800" y="2400300"/>
              <a:ext cx="2694156" cy="274320"/>
              <a:chOff x="1573907" y="2288994"/>
              <a:chExt cx="2694156" cy="274320"/>
            </a:xfrm>
          </p:grpSpPr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D9361C1B-BAF7-2C4B-8BBF-8C6708677B7D}"/>
                  </a:ext>
                </a:extLst>
              </p:cNvPr>
              <p:cNvSpPr/>
              <p:nvPr/>
            </p:nvSpPr>
            <p:spPr bwMode="gray">
              <a:xfrm>
                <a:off x="1573907" y="2288994"/>
                <a:ext cx="274320" cy="274320"/>
              </a:xfrm>
              <a:prstGeom prst="rect">
                <a:avLst/>
              </a:prstGeom>
              <a:noFill/>
              <a:ln w="12700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</a:pPr>
                <a:endParaRPr lang="en-US" sz="16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41" name="TextBox 40">
                <a:extLst>
                  <a:ext uri="{FF2B5EF4-FFF2-40B4-BE49-F238E27FC236}">
                    <a16:creationId xmlns:a16="http://schemas.microsoft.com/office/drawing/2014/main" id="{32DE50DE-7797-3E41-BB32-970D4218162D}"/>
                  </a:ext>
                </a:extLst>
              </p:cNvPr>
              <p:cNvSpPr txBox="1"/>
              <p:nvPr/>
            </p:nvSpPr>
            <p:spPr>
              <a:xfrm>
                <a:off x="1921267" y="2333821"/>
                <a:ext cx="2346796" cy="18466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spcBef>
                    <a:spcPts val="600"/>
                  </a:spcBef>
                  <a:buSzPct val="100000"/>
                </a:pPr>
                <a:r>
                  <a:rPr lang="en-US" sz="1200" dirty="0"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Tableau Desktop Version 2020.3</a:t>
                </a:r>
              </a:p>
            </p:txBody>
          </p:sp>
        </p:grp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3DF17DC1-207D-D444-8540-AC837BF9773E}"/>
                </a:ext>
              </a:extLst>
            </p:cNvPr>
            <p:cNvGrpSpPr/>
            <p:nvPr/>
          </p:nvGrpSpPr>
          <p:grpSpPr>
            <a:xfrm>
              <a:off x="1574800" y="2989169"/>
              <a:ext cx="8167944" cy="821045"/>
              <a:chOff x="1573907" y="3216055"/>
              <a:chExt cx="8167944" cy="821045"/>
            </a:xfrm>
          </p:grpSpPr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6884A900-BA4C-BA49-98D4-C1A87326E0B3}"/>
                  </a:ext>
                </a:extLst>
              </p:cNvPr>
              <p:cNvSpPr/>
              <p:nvPr/>
            </p:nvSpPr>
            <p:spPr bwMode="gray">
              <a:xfrm>
                <a:off x="1573907" y="3762780"/>
                <a:ext cx="274320" cy="274320"/>
              </a:xfrm>
              <a:prstGeom prst="rect">
                <a:avLst/>
              </a:prstGeom>
              <a:noFill/>
              <a:ln w="12700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</a:pPr>
                <a:endParaRPr lang="en-US" sz="16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9" name="TextBox 38">
                <a:extLst>
                  <a:ext uri="{FF2B5EF4-FFF2-40B4-BE49-F238E27FC236}">
                    <a16:creationId xmlns:a16="http://schemas.microsoft.com/office/drawing/2014/main" id="{17342FE4-1327-8042-9568-6D8CB5466DD7}"/>
                  </a:ext>
                </a:extLst>
              </p:cNvPr>
              <p:cNvSpPr txBox="1"/>
              <p:nvPr/>
            </p:nvSpPr>
            <p:spPr>
              <a:xfrm>
                <a:off x="1917080" y="3216055"/>
                <a:ext cx="7824771" cy="18466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spcBef>
                    <a:spcPts val="600"/>
                  </a:spcBef>
                  <a:buSzPct val="100000"/>
                </a:pPr>
                <a:r>
                  <a:rPr lang="en-US" sz="1200" dirty="0"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Snowflake Driver</a:t>
                </a:r>
              </a:p>
            </p:txBody>
          </p:sp>
        </p:grp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D472203F-1474-6C4D-9A96-B2A39178B4C3}"/>
                </a:ext>
              </a:extLst>
            </p:cNvPr>
            <p:cNvGrpSpPr/>
            <p:nvPr/>
          </p:nvGrpSpPr>
          <p:grpSpPr>
            <a:xfrm>
              <a:off x="1574800" y="2944344"/>
              <a:ext cx="4132050" cy="821134"/>
              <a:chOff x="1573907" y="2288994"/>
              <a:chExt cx="4132050" cy="821134"/>
            </a:xfrm>
          </p:grpSpPr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E2665EF4-D7F8-4049-8111-72BA37E229CB}"/>
                  </a:ext>
                </a:extLst>
              </p:cNvPr>
              <p:cNvSpPr/>
              <p:nvPr/>
            </p:nvSpPr>
            <p:spPr bwMode="gray">
              <a:xfrm>
                <a:off x="1573907" y="2288994"/>
                <a:ext cx="274320" cy="274320"/>
              </a:xfrm>
              <a:prstGeom prst="rect">
                <a:avLst/>
              </a:prstGeom>
              <a:noFill/>
              <a:ln w="12700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</a:pPr>
                <a:endParaRPr lang="en-US" sz="16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id="{8901064F-4CD5-3D42-B4DD-519037EE2208}"/>
                  </a:ext>
                </a:extLst>
              </p:cNvPr>
              <p:cNvSpPr txBox="1"/>
              <p:nvPr/>
            </p:nvSpPr>
            <p:spPr>
              <a:xfrm>
                <a:off x="1921267" y="2925462"/>
                <a:ext cx="3784690" cy="18466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spcBef>
                    <a:spcPts val="600"/>
                  </a:spcBef>
                  <a:buSzPct val="100000"/>
                </a:pPr>
                <a:r>
                  <a:rPr lang="en-US" sz="1200" dirty="0"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Snowflake Account Access (username and password)</a:t>
                </a:r>
              </a:p>
            </p:txBody>
          </p:sp>
        </p:grpSp>
      </p:grpSp>
      <p:sp>
        <p:nvSpPr>
          <p:cNvPr id="42" name="TextBox 41">
            <a:extLst>
              <a:ext uri="{FF2B5EF4-FFF2-40B4-BE49-F238E27FC236}">
                <a16:creationId xmlns:a16="http://schemas.microsoft.com/office/drawing/2014/main" id="{6627E478-8B40-7345-9F37-9257FB2B4C6B}"/>
              </a:ext>
            </a:extLst>
          </p:cNvPr>
          <p:cNvSpPr txBox="1"/>
          <p:nvPr/>
        </p:nvSpPr>
        <p:spPr>
          <a:xfrm>
            <a:off x="8802231" y="298135"/>
            <a:ext cx="1312860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200" b="1" dirty="0">
                <a:solidFill>
                  <a:srgbClr val="C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RITICAL ACTION</a:t>
            </a:r>
          </a:p>
        </p:txBody>
      </p:sp>
    </p:spTree>
    <p:extLst>
      <p:ext uri="{BB962C8B-B14F-4D97-AF65-F5344CB8AC3E}">
        <p14:creationId xmlns:p14="http://schemas.microsoft.com/office/powerpoint/2010/main" val="592197473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5DAED6B1-6292-6247-980F-02C1909970F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9900" y="736689"/>
            <a:ext cx="11252200" cy="283090"/>
          </a:xfrm>
        </p:spPr>
        <p:txBody>
          <a:bodyPr/>
          <a:lstStyle/>
          <a:p>
            <a:r>
              <a:rPr lang="en-US" sz="1200" dirty="0"/>
              <a:t>Log into Snowflake from Tableau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3EC109-DCC4-D84A-96DD-9E1DD06C1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3563"/>
          </a:xfrm>
        </p:spPr>
        <p:txBody>
          <a:bodyPr/>
          <a:lstStyle/>
          <a:p>
            <a:r>
              <a:rPr lang="en-US" b="1" spc="0" dirty="0"/>
              <a:t>Connect to Data | </a:t>
            </a:r>
            <a:r>
              <a:rPr lang="en-US" spc="0" dirty="0"/>
              <a:t>Snowflake Driver</a:t>
            </a:r>
            <a:endParaRPr lang="en-US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E6DFAAE-C9C6-9D46-B795-9BC79C578A16}"/>
              </a:ext>
            </a:extLst>
          </p:cNvPr>
          <p:cNvGrpSpPr/>
          <p:nvPr/>
        </p:nvGrpSpPr>
        <p:grpSpPr>
          <a:xfrm>
            <a:off x="10272038" y="173150"/>
            <a:ext cx="1632640" cy="366837"/>
            <a:chOff x="10272038" y="173150"/>
            <a:chExt cx="1632640" cy="366837"/>
          </a:xfrm>
        </p:grpSpPr>
        <p:grpSp>
          <p:nvGrpSpPr>
            <p:cNvPr id="7" name="Group 53">
              <a:extLst>
                <a:ext uri="{FF2B5EF4-FFF2-40B4-BE49-F238E27FC236}">
                  <a16:creationId xmlns:a16="http://schemas.microsoft.com/office/drawing/2014/main" id="{6C2C28C1-636A-1340-B840-A66A9F1DF6AB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0272038" y="173150"/>
              <a:ext cx="365760" cy="366837"/>
              <a:chOff x="5183" y="1046"/>
              <a:chExt cx="340" cy="341"/>
            </a:xfrm>
            <a:solidFill>
              <a:schemeClr val="bg1">
                <a:lumMod val="75000"/>
              </a:schemeClr>
            </a:solidFill>
          </p:grpSpPr>
          <p:sp>
            <p:nvSpPr>
              <p:cNvPr id="17" name="Freeform 54">
                <a:extLst>
                  <a:ext uri="{FF2B5EF4-FFF2-40B4-BE49-F238E27FC236}">
                    <a16:creationId xmlns:a16="http://schemas.microsoft.com/office/drawing/2014/main" id="{B3E3306A-20E7-4246-B14C-099787069D1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47" y="1110"/>
                <a:ext cx="212" cy="213"/>
              </a:xfrm>
              <a:custGeom>
                <a:avLst/>
                <a:gdLst>
                  <a:gd name="T0" fmla="*/ 160 w 320"/>
                  <a:gd name="T1" fmla="*/ 0 h 320"/>
                  <a:gd name="T2" fmla="*/ 0 w 320"/>
                  <a:gd name="T3" fmla="*/ 160 h 320"/>
                  <a:gd name="T4" fmla="*/ 160 w 320"/>
                  <a:gd name="T5" fmla="*/ 320 h 320"/>
                  <a:gd name="T6" fmla="*/ 320 w 320"/>
                  <a:gd name="T7" fmla="*/ 160 h 320"/>
                  <a:gd name="T8" fmla="*/ 160 w 320"/>
                  <a:gd name="T9" fmla="*/ 0 h 320"/>
                  <a:gd name="T10" fmla="*/ 283 w 320"/>
                  <a:gd name="T11" fmla="*/ 224 h 320"/>
                  <a:gd name="T12" fmla="*/ 218 w 320"/>
                  <a:gd name="T13" fmla="*/ 224 h 320"/>
                  <a:gd name="T14" fmla="*/ 223 w 320"/>
                  <a:gd name="T15" fmla="*/ 170 h 320"/>
                  <a:gd name="T16" fmla="*/ 298 w 320"/>
                  <a:gd name="T17" fmla="*/ 170 h 320"/>
                  <a:gd name="T18" fmla="*/ 283 w 320"/>
                  <a:gd name="T19" fmla="*/ 224 h 320"/>
                  <a:gd name="T20" fmla="*/ 160 w 320"/>
                  <a:gd name="T21" fmla="*/ 298 h 320"/>
                  <a:gd name="T22" fmla="*/ 127 w 320"/>
                  <a:gd name="T23" fmla="*/ 245 h 320"/>
                  <a:gd name="T24" fmla="*/ 192 w 320"/>
                  <a:gd name="T25" fmla="*/ 245 h 320"/>
                  <a:gd name="T26" fmla="*/ 160 w 320"/>
                  <a:gd name="T27" fmla="*/ 298 h 320"/>
                  <a:gd name="T28" fmla="*/ 122 w 320"/>
                  <a:gd name="T29" fmla="*/ 224 h 320"/>
                  <a:gd name="T30" fmla="*/ 117 w 320"/>
                  <a:gd name="T31" fmla="*/ 170 h 320"/>
                  <a:gd name="T32" fmla="*/ 202 w 320"/>
                  <a:gd name="T33" fmla="*/ 170 h 320"/>
                  <a:gd name="T34" fmla="*/ 197 w 320"/>
                  <a:gd name="T35" fmla="*/ 224 h 320"/>
                  <a:gd name="T36" fmla="*/ 122 w 320"/>
                  <a:gd name="T37" fmla="*/ 224 h 320"/>
                  <a:gd name="T38" fmla="*/ 22 w 320"/>
                  <a:gd name="T39" fmla="*/ 170 h 320"/>
                  <a:gd name="T40" fmla="*/ 96 w 320"/>
                  <a:gd name="T41" fmla="*/ 170 h 320"/>
                  <a:gd name="T42" fmla="*/ 101 w 320"/>
                  <a:gd name="T43" fmla="*/ 224 h 320"/>
                  <a:gd name="T44" fmla="*/ 37 w 320"/>
                  <a:gd name="T45" fmla="*/ 224 h 320"/>
                  <a:gd name="T46" fmla="*/ 22 w 320"/>
                  <a:gd name="T47" fmla="*/ 170 h 320"/>
                  <a:gd name="T48" fmla="*/ 37 w 320"/>
                  <a:gd name="T49" fmla="*/ 96 h 320"/>
                  <a:gd name="T50" fmla="*/ 101 w 320"/>
                  <a:gd name="T51" fmla="*/ 96 h 320"/>
                  <a:gd name="T52" fmla="*/ 96 w 320"/>
                  <a:gd name="T53" fmla="*/ 149 h 320"/>
                  <a:gd name="T54" fmla="*/ 22 w 320"/>
                  <a:gd name="T55" fmla="*/ 149 h 320"/>
                  <a:gd name="T56" fmla="*/ 37 w 320"/>
                  <a:gd name="T57" fmla="*/ 96 h 320"/>
                  <a:gd name="T58" fmla="*/ 160 w 320"/>
                  <a:gd name="T59" fmla="*/ 21 h 320"/>
                  <a:gd name="T60" fmla="*/ 192 w 320"/>
                  <a:gd name="T61" fmla="*/ 74 h 320"/>
                  <a:gd name="T62" fmla="*/ 127 w 320"/>
                  <a:gd name="T63" fmla="*/ 74 h 320"/>
                  <a:gd name="T64" fmla="*/ 160 w 320"/>
                  <a:gd name="T65" fmla="*/ 21 h 320"/>
                  <a:gd name="T66" fmla="*/ 197 w 320"/>
                  <a:gd name="T67" fmla="*/ 96 h 320"/>
                  <a:gd name="T68" fmla="*/ 202 w 320"/>
                  <a:gd name="T69" fmla="*/ 149 h 320"/>
                  <a:gd name="T70" fmla="*/ 117 w 320"/>
                  <a:gd name="T71" fmla="*/ 149 h 320"/>
                  <a:gd name="T72" fmla="*/ 122 w 320"/>
                  <a:gd name="T73" fmla="*/ 96 h 320"/>
                  <a:gd name="T74" fmla="*/ 197 w 320"/>
                  <a:gd name="T75" fmla="*/ 96 h 320"/>
                  <a:gd name="T76" fmla="*/ 223 w 320"/>
                  <a:gd name="T77" fmla="*/ 149 h 320"/>
                  <a:gd name="T78" fmla="*/ 218 w 320"/>
                  <a:gd name="T79" fmla="*/ 96 h 320"/>
                  <a:gd name="T80" fmla="*/ 283 w 320"/>
                  <a:gd name="T81" fmla="*/ 96 h 320"/>
                  <a:gd name="T82" fmla="*/ 298 w 320"/>
                  <a:gd name="T83" fmla="*/ 149 h 320"/>
                  <a:gd name="T84" fmla="*/ 223 w 320"/>
                  <a:gd name="T85" fmla="*/ 149 h 320"/>
                  <a:gd name="T86" fmla="*/ 269 w 320"/>
                  <a:gd name="T87" fmla="*/ 74 h 320"/>
                  <a:gd name="T88" fmla="*/ 214 w 320"/>
                  <a:gd name="T89" fmla="*/ 74 h 320"/>
                  <a:gd name="T90" fmla="*/ 196 w 320"/>
                  <a:gd name="T91" fmla="*/ 26 h 320"/>
                  <a:gd name="T92" fmla="*/ 269 w 320"/>
                  <a:gd name="T93" fmla="*/ 74 h 320"/>
                  <a:gd name="T94" fmla="*/ 124 w 320"/>
                  <a:gd name="T95" fmla="*/ 26 h 320"/>
                  <a:gd name="T96" fmla="*/ 105 w 320"/>
                  <a:gd name="T97" fmla="*/ 74 h 320"/>
                  <a:gd name="T98" fmla="*/ 51 w 320"/>
                  <a:gd name="T99" fmla="*/ 74 h 320"/>
                  <a:gd name="T100" fmla="*/ 124 w 320"/>
                  <a:gd name="T101" fmla="*/ 26 h 320"/>
                  <a:gd name="T102" fmla="*/ 51 w 320"/>
                  <a:gd name="T103" fmla="*/ 245 h 320"/>
                  <a:gd name="T104" fmla="*/ 105 w 320"/>
                  <a:gd name="T105" fmla="*/ 245 h 320"/>
                  <a:gd name="T106" fmla="*/ 124 w 320"/>
                  <a:gd name="T107" fmla="*/ 293 h 320"/>
                  <a:gd name="T108" fmla="*/ 51 w 320"/>
                  <a:gd name="T109" fmla="*/ 245 h 320"/>
                  <a:gd name="T110" fmla="*/ 196 w 320"/>
                  <a:gd name="T111" fmla="*/ 293 h 320"/>
                  <a:gd name="T112" fmla="*/ 214 w 320"/>
                  <a:gd name="T113" fmla="*/ 245 h 320"/>
                  <a:gd name="T114" fmla="*/ 269 w 320"/>
                  <a:gd name="T115" fmla="*/ 245 h 320"/>
                  <a:gd name="T116" fmla="*/ 196 w 320"/>
                  <a:gd name="T117" fmla="*/ 293 h 3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320" h="320">
                    <a:moveTo>
                      <a:pt x="160" y="0"/>
                    </a:moveTo>
                    <a:cubicBezTo>
                      <a:pt x="71" y="0"/>
                      <a:pt x="0" y="71"/>
                      <a:pt x="0" y="160"/>
                    </a:cubicBezTo>
                    <a:cubicBezTo>
                      <a:pt x="0" y="248"/>
                      <a:pt x="71" y="320"/>
                      <a:pt x="160" y="320"/>
                    </a:cubicBezTo>
                    <a:cubicBezTo>
                      <a:pt x="248" y="320"/>
                      <a:pt x="320" y="248"/>
                      <a:pt x="320" y="160"/>
                    </a:cubicBezTo>
                    <a:cubicBezTo>
                      <a:pt x="320" y="71"/>
                      <a:pt x="248" y="0"/>
                      <a:pt x="160" y="0"/>
                    </a:cubicBezTo>
                    <a:close/>
                    <a:moveTo>
                      <a:pt x="283" y="224"/>
                    </a:moveTo>
                    <a:cubicBezTo>
                      <a:pt x="218" y="224"/>
                      <a:pt x="218" y="224"/>
                      <a:pt x="218" y="224"/>
                    </a:cubicBezTo>
                    <a:cubicBezTo>
                      <a:pt x="221" y="207"/>
                      <a:pt x="223" y="188"/>
                      <a:pt x="223" y="170"/>
                    </a:cubicBezTo>
                    <a:cubicBezTo>
                      <a:pt x="298" y="170"/>
                      <a:pt x="298" y="170"/>
                      <a:pt x="298" y="170"/>
                    </a:cubicBezTo>
                    <a:cubicBezTo>
                      <a:pt x="296" y="189"/>
                      <a:pt x="291" y="207"/>
                      <a:pt x="283" y="224"/>
                    </a:cubicBezTo>
                    <a:close/>
                    <a:moveTo>
                      <a:pt x="160" y="298"/>
                    </a:moveTo>
                    <a:cubicBezTo>
                      <a:pt x="149" y="298"/>
                      <a:pt x="136" y="279"/>
                      <a:pt x="127" y="245"/>
                    </a:cubicBezTo>
                    <a:cubicBezTo>
                      <a:pt x="192" y="245"/>
                      <a:pt x="192" y="245"/>
                      <a:pt x="192" y="245"/>
                    </a:cubicBezTo>
                    <a:cubicBezTo>
                      <a:pt x="183" y="279"/>
                      <a:pt x="170" y="298"/>
                      <a:pt x="160" y="298"/>
                    </a:cubicBezTo>
                    <a:close/>
                    <a:moveTo>
                      <a:pt x="122" y="224"/>
                    </a:moveTo>
                    <a:cubicBezTo>
                      <a:pt x="120" y="208"/>
                      <a:pt x="118" y="190"/>
                      <a:pt x="117" y="170"/>
                    </a:cubicBezTo>
                    <a:cubicBezTo>
                      <a:pt x="202" y="170"/>
                      <a:pt x="202" y="170"/>
                      <a:pt x="202" y="170"/>
                    </a:cubicBezTo>
                    <a:cubicBezTo>
                      <a:pt x="202" y="190"/>
                      <a:pt x="200" y="208"/>
                      <a:pt x="197" y="224"/>
                    </a:cubicBezTo>
                    <a:lnTo>
                      <a:pt x="122" y="224"/>
                    </a:lnTo>
                    <a:close/>
                    <a:moveTo>
                      <a:pt x="22" y="170"/>
                    </a:moveTo>
                    <a:cubicBezTo>
                      <a:pt x="96" y="170"/>
                      <a:pt x="96" y="170"/>
                      <a:pt x="96" y="170"/>
                    </a:cubicBezTo>
                    <a:cubicBezTo>
                      <a:pt x="96" y="188"/>
                      <a:pt x="98" y="207"/>
                      <a:pt x="101" y="224"/>
                    </a:cubicBezTo>
                    <a:cubicBezTo>
                      <a:pt x="37" y="224"/>
                      <a:pt x="37" y="224"/>
                      <a:pt x="37" y="224"/>
                    </a:cubicBezTo>
                    <a:cubicBezTo>
                      <a:pt x="28" y="207"/>
                      <a:pt x="23" y="189"/>
                      <a:pt x="22" y="170"/>
                    </a:cubicBezTo>
                    <a:close/>
                    <a:moveTo>
                      <a:pt x="37" y="96"/>
                    </a:moveTo>
                    <a:cubicBezTo>
                      <a:pt x="101" y="96"/>
                      <a:pt x="101" y="96"/>
                      <a:pt x="101" y="96"/>
                    </a:cubicBezTo>
                    <a:cubicBezTo>
                      <a:pt x="98" y="113"/>
                      <a:pt x="96" y="131"/>
                      <a:pt x="96" y="149"/>
                    </a:cubicBezTo>
                    <a:cubicBezTo>
                      <a:pt x="22" y="149"/>
                      <a:pt x="22" y="149"/>
                      <a:pt x="22" y="149"/>
                    </a:cubicBezTo>
                    <a:cubicBezTo>
                      <a:pt x="23" y="130"/>
                      <a:pt x="28" y="112"/>
                      <a:pt x="37" y="96"/>
                    </a:cubicBezTo>
                    <a:close/>
                    <a:moveTo>
                      <a:pt x="160" y="21"/>
                    </a:moveTo>
                    <a:cubicBezTo>
                      <a:pt x="170" y="21"/>
                      <a:pt x="183" y="41"/>
                      <a:pt x="192" y="74"/>
                    </a:cubicBezTo>
                    <a:cubicBezTo>
                      <a:pt x="127" y="74"/>
                      <a:pt x="127" y="74"/>
                      <a:pt x="127" y="74"/>
                    </a:cubicBezTo>
                    <a:cubicBezTo>
                      <a:pt x="136" y="41"/>
                      <a:pt x="149" y="21"/>
                      <a:pt x="160" y="21"/>
                    </a:cubicBezTo>
                    <a:close/>
                    <a:moveTo>
                      <a:pt x="197" y="96"/>
                    </a:moveTo>
                    <a:cubicBezTo>
                      <a:pt x="200" y="111"/>
                      <a:pt x="202" y="129"/>
                      <a:pt x="202" y="149"/>
                    </a:cubicBezTo>
                    <a:cubicBezTo>
                      <a:pt x="117" y="149"/>
                      <a:pt x="117" y="149"/>
                      <a:pt x="117" y="149"/>
                    </a:cubicBezTo>
                    <a:cubicBezTo>
                      <a:pt x="118" y="129"/>
                      <a:pt x="120" y="111"/>
                      <a:pt x="122" y="96"/>
                    </a:cubicBezTo>
                    <a:lnTo>
                      <a:pt x="197" y="96"/>
                    </a:lnTo>
                    <a:close/>
                    <a:moveTo>
                      <a:pt x="223" y="149"/>
                    </a:moveTo>
                    <a:cubicBezTo>
                      <a:pt x="223" y="131"/>
                      <a:pt x="221" y="113"/>
                      <a:pt x="218" y="96"/>
                    </a:cubicBezTo>
                    <a:cubicBezTo>
                      <a:pt x="283" y="96"/>
                      <a:pt x="283" y="96"/>
                      <a:pt x="283" y="96"/>
                    </a:cubicBezTo>
                    <a:cubicBezTo>
                      <a:pt x="291" y="112"/>
                      <a:pt x="296" y="130"/>
                      <a:pt x="298" y="149"/>
                    </a:cubicBezTo>
                    <a:lnTo>
                      <a:pt x="223" y="149"/>
                    </a:lnTo>
                    <a:close/>
                    <a:moveTo>
                      <a:pt x="269" y="74"/>
                    </a:moveTo>
                    <a:cubicBezTo>
                      <a:pt x="214" y="74"/>
                      <a:pt x="214" y="74"/>
                      <a:pt x="214" y="74"/>
                    </a:cubicBezTo>
                    <a:cubicBezTo>
                      <a:pt x="210" y="55"/>
                      <a:pt x="203" y="39"/>
                      <a:pt x="196" y="26"/>
                    </a:cubicBezTo>
                    <a:cubicBezTo>
                      <a:pt x="225" y="34"/>
                      <a:pt x="251" y="51"/>
                      <a:pt x="269" y="74"/>
                    </a:cubicBezTo>
                    <a:close/>
                    <a:moveTo>
                      <a:pt x="124" y="26"/>
                    </a:moveTo>
                    <a:cubicBezTo>
                      <a:pt x="116" y="39"/>
                      <a:pt x="110" y="55"/>
                      <a:pt x="105" y="74"/>
                    </a:cubicBezTo>
                    <a:cubicBezTo>
                      <a:pt x="51" y="74"/>
                      <a:pt x="51" y="74"/>
                      <a:pt x="51" y="74"/>
                    </a:cubicBezTo>
                    <a:cubicBezTo>
                      <a:pt x="69" y="51"/>
                      <a:pt x="94" y="34"/>
                      <a:pt x="124" y="26"/>
                    </a:cubicBezTo>
                    <a:close/>
                    <a:moveTo>
                      <a:pt x="51" y="245"/>
                    </a:moveTo>
                    <a:cubicBezTo>
                      <a:pt x="105" y="245"/>
                      <a:pt x="105" y="245"/>
                      <a:pt x="105" y="245"/>
                    </a:cubicBezTo>
                    <a:cubicBezTo>
                      <a:pt x="110" y="264"/>
                      <a:pt x="116" y="281"/>
                      <a:pt x="124" y="293"/>
                    </a:cubicBezTo>
                    <a:cubicBezTo>
                      <a:pt x="94" y="285"/>
                      <a:pt x="69" y="268"/>
                      <a:pt x="51" y="245"/>
                    </a:cubicBezTo>
                    <a:close/>
                    <a:moveTo>
                      <a:pt x="196" y="293"/>
                    </a:moveTo>
                    <a:cubicBezTo>
                      <a:pt x="203" y="281"/>
                      <a:pt x="210" y="264"/>
                      <a:pt x="214" y="245"/>
                    </a:cubicBezTo>
                    <a:cubicBezTo>
                      <a:pt x="269" y="245"/>
                      <a:pt x="269" y="245"/>
                      <a:pt x="269" y="245"/>
                    </a:cubicBezTo>
                    <a:cubicBezTo>
                      <a:pt x="251" y="268"/>
                      <a:pt x="225" y="285"/>
                      <a:pt x="196" y="29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" name="Freeform 55">
                <a:extLst>
                  <a:ext uri="{FF2B5EF4-FFF2-40B4-BE49-F238E27FC236}">
                    <a16:creationId xmlns:a16="http://schemas.microsoft.com/office/drawing/2014/main" id="{C6023F7A-281F-C844-BA27-C60AACC50B4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83" y="1046"/>
                <a:ext cx="340" cy="341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A6030B49-ABBA-714D-8A34-EC40E7E014FC}"/>
                </a:ext>
              </a:extLst>
            </p:cNvPr>
            <p:cNvGrpSpPr/>
            <p:nvPr/>
          </p:nvGrpSpPr>
          <p:grpSpPr>
            <a:xfrm>
              <a:off x="11116624" y="173688"/>
              <a:ext cx="365760" cy="365760"/>
              <a:chOff x="6806797" y="2076826"/>
              <a:chExt cx="685804" cy="685804"/>
            </a:xfrm>
            <a:solidFill>
              <a:schemeClr val="bg1">
                <a:lumMod val="75000"/>
              </a:schemeClr>
            </a:solidFill>
          </p:grpSpPr>
          <p:sp>
            <p:nvSpPr>
              <p:cNvPr id="15" name="Freeform 623">
                <a:extLst>
                  <a:ext uri="{FF2B5EF4-FFF2-40B4-BE49-F238E27FC236}">
                    <a16:creationId xmlns:a16="http://schemas.microsoft.com/office/drawing/2014/main" id="{A4FD5118-54E1-AB45-A285-8EC74B0C2A0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06797" y="2076826"/>
                <a:ext cx="685804" cy="685804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pic>
            <p:nvPicPr>
              <p:cNvPr id="16" name="Graphic 15" descr="Target">
                <a:extLst>
                  <a:ext uri="{FF2B5EF4-FFF2-40B4-BE49-F238E27FC236}">
                    <a16:creationId xmlns:a16="http://schemas.microsoft.com/office/drawing/2014/main" id="{F49CF584-F4A5-1646-8AF3-B500F507B81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6852519" y="2122548"/>
                <a:ext cx="594360" cy="594360"/>
              </a:xfrm>
              <a:prstGeom prst="rect">
                <a:avLst/>
              </a:prstGeom>
            </p:spPr>
          </p:pic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7F71AAC5-B834-D242-BB6F-8A482CE61E94}"/>
                </a:ext>
              </a:extLst>
            </p:cNvPr>
            <p:cNvGrpSpPr/>
            <p:nvPr/>
          </p:nvGrpSpPr>
          <p:grpSpPr>
            <a:xfrm>
              <a:off x="11538918" y="173688"/>
              <a:ext cx="365760" cy="365760"/>
              <a:chOff x="6806753" y="3091011"/>
              <a:chExt cx="685800" cy="685800"/>
            </a:xfrm>
            <a:solidFill>
              <a:schemeClr val="bg1">
                <a:lumMod val="75000"/>
              </a:schemeClr>
            </a:solidFill>
          </p:grpSpPr>
          <p:sp>
            <p:nvSpPr>
              <p:cNvPr id="13" name="Freeform 727">
                <a:extLst>
                  <a:ext uri="{FF2B5EF4-FFF2-40B4-BE49-F238E27FC236}">
                    <a16:creationId xmlns:a16="http://schemas.microsoft.com/office/drawing/2014/main" id="{EB066332-9C45-C14B-878C-C484243F361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06753" y="3091011"/>
                <a:ext cx="685800" cy="685800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pic>
            <p:nvPicPr>
              <p:cNvPr id="14" name="Graphic 13" descr="Head with gears">
                <a:extLst>
                  <a:ext uri="{FF2B5EF4-FFF2-40B4-BE49-F238E27FC236}">
                    <a16:creationId xmlns:a16="http://schemas.microsoft.com/office/drawing/2014/main" id="{4B6CB2A0-BC97-DA40-A5FE-F028EA0A512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6932592" y="3216850"/>
                <a:ext cx="434123" cy="434123"/>
              </a:xfrm>
              <a:prstGeom prst="rect">
                <a:avLst/>
              </a:prstGeom>
            </p:spPr>
          </p:pic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BF1345B2-7AD3-6A47-B893-68DE43D819F9}"/>
                </a:ext>
              </a:extLst>
            </p:cNvPr>
            <p:cNvGrpSpPr/>
            <p:nvPr/>
          </p:nvGrpSpPr>
          <p:grpSpPr>
            <a:xfrm>
              <a:off x="10694331" y="173688"/>
              <a:ext cx="365760" cy="365760"/>
              <a:chOff x="6806753" y="2142199"/>
              <a:chExt cx="685804" cy="685804"/>
            </a:xfrm>
          </p:grpSpPr>
          <p:sp>
            <p:nvSpPr>
              <p:cNvPr id="11" name="Freeform 623">
                <a:extLst>
                  <a:ext uri="{FF2B5EF4-FFF2-40B4-BE49-F238E27FC236}">
                    <a16:creationId xmlns:a16="http://schemas.microsoft.com/office/drawing/2014/main" id="{15FD7F61-1750-854A-9E62-FE580DC1D5E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06753" y="2142199"/>
                <a:ext cx="685804" cy="685804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solidFill>
                <a:srgbClr val="36B9EE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pic>
            <p:nvPicPr>
              <p:cNvPr id="12" name="Graphic 11" descr="Badge Tick outline">
                <a:extLst>
                  <a:ext uri="{FF2B5EF4-FFF2-40B4-BE49-F238E27FC236}">
                    <a16:creationId xmlns:a16="http://schemas.microsoft.com/office/drawing/2014/main" id="{32933E97-681E-AD44-99AA-4FDAFC6D4F0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6834429" y="2170883"/>
                <a:ext cx="628436" cy="628436"/>
              </a:xfrm>
              <a:prstGeom prst="rect">
                <a:avLst/>
              </a:prstGeom>
            </p:spPr>
          </p:pic>
        </p:grpSp>
      </p:grpSp>
      <p:sp>
        <p:nvSpPr>
          <p:cNvPr id="23" name="Content Placeholder 1">
            <a:extLst>
              <a:ext uri="{FF2B5EF4-FFF2-40B4-BE49-F238E27FC236}">
                <a16:creationId xmlns:a16="http://schemas.microsoft.com/office/drawing/2014/main" id="{BEE15851-939A-1A44-A774-AF03855559D8}"/>
              </a:ext>
            </a:extLst>
          </p:cNvPr>
          <p:cNvSpPr txBox="1">
            <a:spLocks/>
          </p:cNvSpPr>
          <p:nvPr/>
        </p:nvSpPr>
        <p:spPr>
          <a:xfrm>
            <a:off x="464998" y="1676400"/>
            <a:ext cx="2397946" cy="4705351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 spc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spc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spc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spc="0" baseline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spc="0" baseline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First request access to the AI360 Snowflake environment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1" dirty="0"/>
              <a:t>Gather the server location, user role, user name, and password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In order to connect Tableau to Snowflake, </a:t>
            </a:r>
            <a:r>
              <a:rPr lang="en-US" b="1" dirty="0"/>
              <a:t>download and install the </a:t>
            </a:r>
            <a:r>
              <a:rPr lang="en-US" b="1" dirty="0" err="1"/>
              <a:t>SnowflakeODBC</a:t>
            </a:r>
            <a:r>
              <a:rPr lang="en-US" b="1" dirty="0"/>
              <a:t> </a:t>
            </a:r>
            <a:r>
              <a:rPr lang="en-US" dirty="0"/>
              <a:t>driver from Tableau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uthenticate with user name and password.</a:t>
            </a:r>
          </a:p>
          <a:p>
            <a:endParaRPr lang="en-US" dirty="0"/>
          </a:p>
          <a:p>
            <a:r>
              <a:rPr lang="en-US" i="1" dirty="0">
                <a:solidFill>
                  <a:srgbClr val="006D92"/>
                </a:solidFill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elp.tableau.com/current/pro/desktop/en-us/examples_snowflake.htm</a:t>
            </a:r>
            <a:r>
              <a:rPr lang="en-US" i="1" dirty="0">
                <a:solidFill>
                  <a:srgbClr val="006D92"/>
                </a:solidFill>
              </a:rPr>
              <a:t> </a:t>
            </a:r>
          </a:p>
          <a:p>
            <a:r>
              <a:rPr lang="en-US" sz="1000" i="1" dirty="0"/>
              <a:t>*These instructions were originally prepared for and tested on a MacOS</a:t>
            </a:r>
            <a:r>
              <a:rPr lang="en-US" sz="1050" i="1" dirty="0"/>
              <a:t>.</a:t>
            </a:r>
          </a:p>
          <a:p>
            <a:endParaRPr lang="en-US" i="1" dirty="0">
              <a:solidFill>
                <a:srgbClr val="006D92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BF9A7E20-C5DD-2A4A-9E70-AA50A0E9B7BA}"/>
              </a:ext>
            </a:extLst>
          </p:cNvPr>
          <p:cNvSpPr txBox="1">
            <a:spLocks/>
          </p:cNvSpPr>
          <p:nvPr/>
        </p:nvSpPr>
        <p:spPr>
          <a:xfrm>
            <a:off x="469900" y="1127760"/>
            <a:ext cx="2393043" cy="548640"/>
          </a:xfrm>
          <a:prstGeom prst="rect">
            <a:avLst/>
          </a:prstGeom>
          <a:solidFill>
            <a:srgbClr val="7ACAEE"/>
          </a:solidFill>
        </p:spPr>
        <p:txBody>
          <a:bodyPr anchor="ctr"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 spc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spc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spc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spc="0" baseline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spc="0" baseline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/>
              <a:t>Snowflake Driver Install</a:t>
            </a:r>
          </a:p>
        </p:txBody>
      </p:sp>
      <p:pic>
        <p:nvPicPr>
          <p:cNvPr id="21" name="Picture 20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E9B4AD51-23E3-E943-A22E-C0912E5FDB4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84241" y="1127760"/>
            <a:ext cx="2939496" cy="2384874"/>
          </a:xfrm>
          <a:prstGeom prst="rect">
            <a:avLst/>
          </a:prstGeom>
        </p:spPr>
      </p:pic>
      <p:pic>
        <p:nvPicPr>
          <p:cNvPr id="22" name="Picture 21" descr="Graphical user interface, text, application, email&#10;&#10;Description automatically generated">
            <a:extLst>
              <a:ext uri="{FF2B5EF4-FFF2-40B4-BE49-F238E27FC236}">
                <a16:creationId xmlns:a16="http://schemas.microsoft.com/office/drawing/2014/main" id="{3180648F-AD59-C541-8371-A927C8070634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2613" y="1127760"/>
            <a:ext cx="4235185" cy="3762734"/>
          </a:xfrm>
          <a:prstGeom prst="rect">
            <a:avLst/>
          </a:prstGeom>
          <a:ln>
            <a:solidFill>
              <a:schemeClr val="bg2"/>
            </a:solidFill>
          </a:ln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601EDE85-D75C-8E4A-B052-EA10B3693309}"/>
              </a:ext>
            </a:extLst>
          </p:cNvPr>
          <p:cNvSpPr txBox="1"/>
          <p:nvPr/>
        </p:nvSpPr>
        <p:spPr>
          <a:xfrm>
            <a:off x="3106819" y="3567410"/>
            <a:ext cx="2989181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1000" dirty="0" err="1">
                <a:solidFill>
                  <a:srgbClr val="31313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nowflakeODBC</a:t>
            </a:r>
            <a:r>
              <a:rPr lang="en-US" sz="1000" dirty="0">
                <a:solidFill>
                  <a:srgbClr val="31313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driver installation.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34C3934E-EE40-4F43-8DCE-CF84F2A1A878}"/>
              </a:ext>
            </a:extLst>
          </p:cNvPr>
          <p:cNvSpPr txBox="1"/>
          <p:nvPr/>
        </p:nvSpPr>
        <p:spPr>
          <a:xfrm>
            <a:off x="6402613" y="4998475"/>
            <a:ext cx="3416075" cy="13080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1000" dirty="0">
                <a:solidFill>
                  <a:srgbClr val="31313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nitial Snowflake connection required info:</a:t>
            </a:r>
          </a:p>
          <a:p>
            <a:pPr marL="171450" indent="-1714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rgbClr val="31313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erver location</a:t>
            </a:r>
          </a:p>
          <a:p>
            <a:pPr marL="171450" indent="-1714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rgbClr val="31313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User Role (User type as listed in Snowflake)</a:t>
            </a:r>
          </a:p>
          <a:p>
            <a:pPr marL="171450" indent="-1714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rgbClr val="31313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uthentication method: Username and Password</a:t>
            </a:r>
          </a:p>
          <a:p>
            <a:pPr marL="171450" indent="-1714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rgbClr val="31313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Username</a:t>
            </a:r>
          </a:p>
          <a:p>
            <a:pPr marL="171450" indent="-1714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rgbClr val="31313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assword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15DE30B9-63BB-154C-945F-9443CD265BA0}"/>
              </a:ext>
            </a:extLst>
          </p:cNvPr>
          <p:cNvSpPr txBox="1"/>
          <p:nvPr/>
        </p:nvSpPr>
        <p:spPr>
          <a:xfrm>
            <a:off x="8802231" y="298135"/>
            <a:ext cx="1312860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200" b="1" dirty="0">
                <a:solidFill>
                  <a:srgbClr val="C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RITICAL ACTION</a:t>
            </a:r>
          </a:p>
        </p:txBody>
      </p:sp>
    </p:spTree>
    <p:extLst>
      <p:ext uri="{BB962C8B-B14F-4D97-AF65-F5344CB8AC3E}">
        <p14:creationId xmlns:p14="http://schemas.microsoft.com/office/powerpoint/2010/main" val="898054618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5DAED6B1-6292-6247-980F-02C1909970F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9900" y="736689"/>
            <a:ext cx="11252200" cy="283090"/>
          </a:xfrm>
        </p:spPr>
        <p:txBody>
          <a:bodyPr/>
          <a:lstStyle/>
          <a:p>
            <a:r>
              <a:rPr lang="en-US" sz="1200" dirty="0"/>
              <a:t>Change data source from default mock data to Snowflake connection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3EC109-DCC4-D84A-96DD-9E1DD06C1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29678"/>
          </a:xfrm>
        </p:spPr>
        <p:txBody>
          <a:bodyPr/>
          <a:lstStyle/>
          <a:p>
            <a:r>
              <a:rPr lang="en-US" b="1" spc="0" dirty="0"/>
              <a:t>Connect to Data | </a:t>
            </a:r>
            <a:r>
              <a:rPr lang="en-US" spc="0" dirty="0"/>
              <a:t>Data Source</a:t>
            </a:r>
            <a:endParaRPr lang="en-US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E6DFAAE-C9C6-9D46-B795-9BC79C578A16}"/>
              </a:ext>
            </a:extLst>
          </p:cNvPr>
          <p:cNvGrpSpPr/>
          <p:nvPr/>
        </p:nvGrpSpPr>
        <p:grpSpPr>
          <a:xfrm>
            <a:off x="10272038" y="173150"/>
            <a:ext cx="1632640" cy="366837"/>
            <a:chOff x="10272038" y="173150"/>
            <a:chExt cx="1632640" cy="366837"/>
          </a:xfrm>
        </p:grpSpPr>
        <p:grpSp>
          <p:nvGrpSpPr>
            <p:cNvPr id="7" name="Group 53">
              <a:extLst>
                <a:ext uri="{FF2B5EF4-FFF2-40B4-BE49-F238E27FC236}">
                  <a16:creationId xmlns:a16="http://schemas.microsoft.com/office/drawing/2014/main" id="{6C2C28C1-636A-1340-B840-A66A9F1DF6AB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0272038" y="173150"/>
              <a:ext cx="365760" cy="366837"/>
              <a:chOff x="5183" y="1046"/>
              <a:chExt cx="340" cy="341"/>
            </a:xfrm>
            <a:solidFill>
              <a:schemeClr val="bg1">
                <a:lumMod val="75000"/>
              </a:schemeClr>
            </a:solidFill>
          </p:grpSpPr>
          <p:sp>
            <p:nvSpPr>
              <p:cNvPr id="17" name="Freeform 54">
                <a:extLst>
                  <a:ext uri="{FF2B5EF4-FFF2-40B4-BE49-F238E27FC236}">
                    <a16:creationId xmlns:a16="http://schemas.microsoft.com/office/drawing/2014/main" id="{B3E3306A-20E7-4246-B14C-099787069D1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47" y="1110"/>
                <a:ext cx="212" cy="213"/>
              </a:xfrm>
              <a:custGeom>
                <a:avLst/>
                <a:gdLst>
                  <a:gd name="T0" fmla="*/ 160 w 320"/>
                  <a:gd name="T1" fmla="*/ 0 h 320"/>
                  <a:gd name="T2" fmla="*/ 0 w 320"/>
                  <a:gd name="T3" fmla="*/ 160 h 320"/>
                  <a:gd name="T4" fmla="*/ 160 w 320"/>
                  <a:gd name="T5" fmla="*/ 320 h 320"/>
                  <a:gd name="T6" fmla="*/ 320 w 320"/>
                  <a:gd name="T7" fmla="*/ 160 h 320"/>
                  <a:gd name="T8" fmla="*/ 160 w 320"/>
                  <a:gd name="T9" fmla="*/ 0 h 320"/>
                  <a:gd name="T10" fmla="*/ 283 w 320"/>
                  <a:gd name="T11" fmla="*/ 224 h 320"/>
                  <a:gd name="T12" fmla="*/ 218 w 320"/>
                  <a:gd name="T13" fmla="*/ 224 h 320"/>
                  <a:gd name="T14" fmla="*/ 223 w 320"/>
                  <a:gd name="T15" fmla="*/ 170 h 320"/>
                  <a:gd name="T16" fmla="*/ 298 w 320"/>
                  <a:gd name="T17" fmla="*/ 170 h 320"/>
                  <a:gd name="T18" fmla="*/ 283 w 320"/>
                  <a:gd name="T19" fmla="*/ 224 h 320"/>
                  <a:gd name="T20" fmla="*/ 160 w 320"/>
                  <a:gd name="T21" fmla="*/ 298 h 320"/>
                  <a:gd name="T22" fmla="*/ 127 w 320"/>
                  <a:gd name="T23" fmla="*/ 245 h 320"/>
                  <a:gd name="T24" fmla="*/ 192 w 320"/>
                  <a:gd name="T25" fmla="*/ 245 h 320"/>
                  <a:gd name="T26" fmla="*/ 160 w 320"/>
                  <a:gd name="T27" fmla="*/ 298 h 320"/>
                  <a:gd name="T28" fmla="*/ 122 w 320"/>
                  <a:gd name="T29" fmla="*/ 224 h 320"/>
                  <a:gd name="T30" fmla="*/ 117 w 320"/>
                  <a:gd name="T31" fmla="*/ 170 h 320"/>
                  <a:gd name="T32" fmla="*/ 202 w 320"/>
                  <a:gd name="T33" fmla="*/ 170 h 320"/>
                  <a:gd name="T34" fmla="*/ 197 w 320"/>
                  <a:gd name="T35" fmla="*/ 224 h 320"/>
                  <a:gd name="T36" fmla="*/ 122 w 320"/>
                  <a:gd name="T37" fmla="*/ 224 h 320"/>
                  <a:gd name="T38" fmla="*/ 22 w 320"/>
                  <a:gd name="T39" fmla="*/ 170 h 320"/>
                  <a:gd name="T40" fmla="*/ 96 w 320"/>
                  <a:gd name="T41" fmla="*/ 170 h 320"/>
                  <a:gd name="T42" fmla="*/ 101 w 320"/>
                  <a:gd name="T43" fmla="*/ 224 h 320"/>
                  <a:gd name="T44" fmla="*/ 37 w 320"/>
                  <a:gd name="T45" fmla="*/ 224 h 320"/>
                  <a:gd name="T46" fmla="*/ 22 w 320"/>
                  <a:gd name="T47" fmla="*/ 170 h 320"/>
                  <a:gd name="T48" fmla="*/ 37 w 320"/>
                  <a:gd name="T49" fmla="*/ 96 h 320"/>
                  <a:gd name="T50" fmla="*/ 101 w 320"/>
                  <a:gd name="T51" fmla="*/ 96 h 320"/>
                  <a:gd name="T52" fmla="*/ 96 w 320"/>
                  <a:gd name="T53" fmla="*/ 149 h 320"/>
                  <a:gd name="T54" fmla="*/ 22 w 320"/>
                  <a:gd name="T55" fmla="*/ 149 h 320"/>
                  <a:gd name="T56" fmla="*/ 37 w 320"/>
                  <a:gd name="T57" fmla="*/ 96 h 320"/>
                  <a:gd name="T58" fmla="*/ 160 w 320"/>
                  <a:gd name="T59" fmla="*/ 21 h 320"/>
                  <a:gd name="T60" fmla="*/ 192 w 320"/>
                  <a:gd name="T61" fmla="*/ 74 h 320"/>
                  <a:gd name="T62" fmla="*/ 127 w 320"/>
                  <a:gd name="T63" fmla="*/ 74 h 320"/>
                  <a:gd name="T64" fmla="*/ 160 w 320"/>
                  <a:gd name="T65" fmla="*/ 21 h 320"/>
                  <a:gd name="T66" fmla="*/ 197 w 320"/>
                  <a:gd name="T67" fmla="*/ 96 h 320"/>
                  <a:gd name="T68" fmla="*/ 202 w 320"/>
                  <a:gd name="T69" fmla="*/ 149 h 320"/>
                  <a:gd name="T70" fmla="*/ 117 w 320"/>
                  <a:gd name="T71" fmla="*/ 149 h 320"/>
                  <a:gd name="T72" fmla="*/ 122 w 320"/>
                  <a:gd name="T73" fmla="*/ 96 h 320"/>
                  <a:gd name="T74" fmla="*/ 197 w 320"/>
                  <a:gd name="T75" fmla="*/ 96 h 320"/>
                  <a:gd name="T76" fmla="*/ 223 w 320"/>
                  <a:gd name="T77" fmla="*/ 149 h 320"/>
                  <a:gd name="T78" fmla="*/ 218 w 320"/>
                  <a:gd name="T79" fmla="*/ 96 h 320"/>
                  <a:gd name="T80" fmla="*/ 283 w 320"/>
                  <a:gd name="T81" fmla="*/ 96 h 320"/>
                  <a:gd name="T82" fmla="*/ 298 w 320"/>
                  <a:gd name="T83" fmla="*/ 149 h 320"/>
                  <a:gd name="T84" fmla="*/ 223 w 320"/>
                  <a:gd name="T85" fmla="*/ 149 h 320"/>
                  <a:gd name="T86" fmla="*/ 269 w 320"/>
                  <a:gd name="T87" fmla="*/ 74 h 320"/>
                  <a:gd name="T88" fmla="*/ 214 w 320"/>
                  <a:gd name="T89" fmla="*/ 74 h 320"/>
                  <a:gd name="T90" fmla="*/ 196 w 320"/>
                  <a:gd name="T91" fmla="*/ 26 h 320"/>
                  <a:gd name="T92" fmla="*/ 269 w 320"/>
                  <a:gd name="T93" fmla="*/ 74 h 320"/>
                  <a:gd name="T94" fmla="*/ 124 w 320"/>
                  <a:gd name="T95" fmla="*/ 26 h 320"/>
                  <a:gd name="T96" fmla="*/ 105 w 320"/>
                  <a:gd name="T97" fmla="*/ 74 h 320"/>
                  <a:gd name="T98" fmla="*/ 51 w 320"/>
                  <a:gd name="T99" fmla="*/ 74 h 320"/>
                  <a:gd name="T100" fmla="*/ 124 w 320"/>
                  <a:gd name="T101" fmla="*/ 26 h 320"/>
                  <a:gd name="T102" fmla="*/ 51 w 320"/>
                  <a:gd name="T103" fmla="*/ 245 h 320"/>
                  <a:gd name="T104" fmla="*/ 105 w 320"/>
                  <a:gd name="T105" fmla="*/ 245 h 320"/>
                  <a:gd name="T106" fmla="*/ 124 w 320"/>
                  <a:gd name="T107" fmla="*/ 293 h 320"/>
                  <a:gd name="T108" fmla="*/ 51 w 320"/>
                  <a:gd name="T109" fmla="*/ 245 h 320"/>
                  <a:gd name="T110" fmla="*/ 196 w 320"/>
                  <a:gd name="T111" fmla="*/ 293 h 320"/>
                  <a:gd name="T112" fmla="*/ 214 w 320"/>
                  <a:gd name="T113" fmla="*/ 245 h 320"/>
                  <a:gd name="T114" fmla="*/ 269 w 320"/>
                  <a:gd name="T115" fmla="*/ 245 h 320"/>
                  <a:gd name="T116" fmla="*/ 196 w 320"/>
                  <a:gd name="T117" fmla="*/ 293 h 3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320" h="320">
                    <a:moveTo>
                      <a:pt x="160" y="0"/>
                    </a:moveTo>
                    <a:cubicBezTo>
                      <a:pt x="71" y="0"/>
                      <a:pt x="0" y="71"/>
                      <a:pt x="0" y="160"/>
                    </a:cubicBezTo>
                    <a:cubicBezTo>
                      <a:pt x="0" y="248"/>
                      <a:pt x="71" y="320"/>
                      <a:pt x="160" y="320"/>
                    </a:cubicBezTo>
                    <a:cubicBezTo>
                      <a:pt x="248" y="320"/>
                      <a:pt x="320" y="248"/>
                      <a:pt x="320" y="160"/>
                    </a:cubicBezTo>
                    <a:cubicBezTo>
                      <a:pt x="320" y="71"/>
                      <a:pt x="248" y="0"/>
                      <a:pt x="160" y="0"/>
                    </a:cubicBezTo>
                    <a:close/>
                    <a:moveTo>
                      <a:pt x="283" y="224"/>
                    </a:moveTo>
                    <a:cubicBezTo>
                      <a:pt x="218" y="224"/>
                      <a:pt x="218" y="224"/>
                      <a:pt x="218" y="224"/>
                    </a:cubicBezTo>
                    <a:cubicBezTo>
                      <a:pt x="221" y="207"/>
                      <a:pt x="223" y="188"/>
                      <a:pt x="223" y="170"/>
                    </a:cubicBezTo>
                    <a:cubicBezTo>
                      <a:pt x="298" y="170"/>
                      <a:pt x="298" y="170"/>
                      <a:pt x="298" y="170"/>
                    </a:cubicBezTo>
                    <a:cubicBezTo>
                      <a:pt x="296" y="189"/>
                      <a:pt x="291" y="207"/>
                      <a:pt x="283" y="224"/>
                    </a:cubicBezTo>
                    <a:close/>
                    <a:moveTo>
                      <a:pt x="160" y="298"/>
                    </a:moveTo>
                    <a:cubicBezTo>
                      <a:pt x="149" y="298"/>
                      <a:pt x="136" y="279"/>
                      <a:pt x="127" y="245"/>
                    </a:cubicBezTo>
                    <a:cubicBezTo>
                      <a:pt x="192" y="245"/>
                      <a:pt x="192" y="245"/>
                      <a:pt x="192" y="245"/>
                    </a:cubicBezTo>
                    <a:cubicBezTo>
                      <a:pt x="183" y="279"/>
                      <a:pt x="170" y="298"/>
                      <a:pt x="160" y="298"/>
                    </a:cubicBezTo>
                    <a:close/>
                    <a:moveTo>
                      <a:pt x="122" y="224"/>
                    </a:moveTo>
                    <a:cubicBezTo>
                      <a:pt x="120" y="208"/>
                      <a:pt x="118" y="190"/>
                      <a:pt x="117" y="170"/>
                    </a:cubicBezTo>
                    <a:cubicBezTo>
                      <a:pt x="202" y="170"/>
                      <a:pt x="202" y="170"/>
                      <a:pt x="202" y="170"/>
                    </a:cubicBezTo>
                    <a:cubicBezTo>
                      <a:pt x="202" y="190"/>
                      <a:pt x="200" y="208"/>
                      <a:pt x="197" y="224"/>
                    </a:cubicBezTo>
                    <a:lnTo>
                      <a:pt x="122" y="224"/>
                    </a:lnTo>
                    <a:close/>
                    <a:moveTo>
                      <a:pt x="22" y="170"/>
                    </a:moveTo>
                    <a:cubicBezTo>
                      <a:pt x="96" y="170"/>
                      <a:pt x="96" y="170"/>
                      <a:pt x="96" y="170"/>
                    </a:cubicBezTo>
                    <a:cubicBezTo>
                      <a:pt x="96" y="188"/>
                      <a:pt x="98" y="207"/>
                      <a:pt x="101" y="224"/>
                    </a:cubicBezTo>
                    <a:cubicBezTo>
                      <a:pt x="37" y="224"/>
                      <a:pt x="37" y="224"/>
                      <a:pt x="37" y="224"/>
                    </a:cubicBezTo>
                    <a:cubicBezTo>
                      <a:pt x="28" y="207"/>
                      <a:pt x="23" y="189"/>
                      <a:pt x="22" y="170"/>
                    </a:cubicBezTo>
                    <a:close/>
                    <a:moveTo>
                      <a:pt x="37" y="96"/>
                    </a:moveTo>
                    <a:cubicBezTo>
                      <a:pt x="101" y="96"/>
                      <a:pt x="101" y="96"/>
                      <a:pt x="101" y="96"/>
                    </a:cubicBezTo>
                    <a:cubicBezTo>
                      <a:pt x="98" y="113"/>
                      <a:pt x="96" y="131"/>
                      <a:pt x="96" y="149"/>
                    </a:cubicBezTo>
                    <a:cubicBezTo>
                      <a:pt x="22" y="149"/>
                      <a:pt x="22" y="149"/>
                      <a:pt x="22" y="149"/>
                    </a:cubicBezTo>
                    <a:cubicBezTo>
                      <a:pt x="23" y="130"/>
                      <a:pt x="28" y="112"/>
                      <a:pt x="37" y="96"/>
                    </a:cubicBezTo>
                    <a:close/>
                    <a:moveTo>
                      <a:pt x="160" y="21"/>
                    </a:moveTo>
                    <a:cubicBezTo>
                      <a:pt x="170" y="21"/>
                      <a:pt x="183" y="41"/>
                      <a:pt x="192" y="74"/>
                    </a:cubicBezTo>
                    <a:cubicBezTo>
                      <a:pt x="127" y="74"/>
                      <a:pt x="127" y="74"/>
                      <a:pt x="127" y="74"/>
                    </a:cubicBezTo>
                    <a:cubicBezTo>
                      <a:pt x="136" y="41"/>
                      <a:pt x="149" y="21"/>
                      <a:pt x="160" y="21"/>
                    </a:cubicBezTo>
                    <a:close/>
                    <a:moveTo>
                      <a:pt x="197" y="96"/>
                    </a:moveTo>
                    <a:cubicBezTo>
                      <a:pt x="200" y="111"/>
                      <a:pt x="202" y="129"/>
                      <a:pt x="202" y="149"/>
                    </a:cubicBezTo>
                    <a:cubicBezTo>
                      <a:pt x="117" y="149"/>
                      <a:pt x="117" y="149"/>
                      <a:pt x="117" y="149"/>
                    </a:cubicBezTo>
                    <a:cubicBezTo>
                      <a:pt x="118" y="129"/>
                      <a:pt x="120" y="111"/>
                      <a:pt x="122" y="96"/>
                    </a:cubicBezTo>
                    <a:lnTo>
                      <a:pt x="197" y="96"/>
                    </a:lnTo>
                    <a:close/>
                    <a:moveTo>
                      <a:pt x="223" y="149"/>
                    </a:moveTo>
                    <a:cubicBezTo>
                      <a:pt x="223" y="131"/>
                      <a:pt x="221" y="113"/>
                      <a:pt x="218" y="96"/>
                    </a:cubicBezTo>
                    <a:cubicBezTo>
                      <a:pt x="283" y="96"/>
                      <a:pt x="283" y="96"/>
                      <a:pt x="283" y="96"/>
                    </a:cubicBezTo>
                    <a:cubicBezTo>
                      <a:pt x="291" y="112"/>
                      <a:pt x="296" y="130"/>
                      <a:pt x="298" y="149"/>
                    </a:cubicBezTo>
                    <a:lnTo>
                      <a:pt x="223" y="149"/>
                    </a:lnTo>
                    <a:close/>
                    <a:moveTo>
                      <a:pt x="269" y="74"/>
                    </a:moveTo>
                    <a:cubicBezTo>
                      <a:pt x="214" y="74"/>
                      <a:pt x="214" y="74"/>
                      <a:pt x="214" y="74"/>
                    </a:cubicBezTo>
                    <a:cubicBezTo>
                      <a:pt x="210" y="55"/>
                      <a:pt x="203" y="39"/>
                      <a:pt x="196" y="26"/>
                    </a:cubicBezTo>
                    <a:cubicBezTo>
                      <a:pt x="225" y="34"/>
                      <a:pt x="251" y="51"/>
                      <a:pt x="269" y="74"/>
                    </a:cubicBezTo>
                    <a:close/>
                    <a:moveTo>
                      <a:pt x="124" y="26"/>
                    </a:moveTo>
                    <a:cubicBezTo>
                      <a:pt x="116" y="39"/>
                      <a:pt x="110" y="55"/>
                      <a:pt x="105" y="74"/>
                    </a:cubicBezTo>
                    <a:cubicBezTo>
                      <a:pt x="51" y="74"/>
                      <a:pt x="51" y="74"/>
                      <a:pt x="51" y="74"/>
                    </a:cubicBezTo>
                    <a:cubicBezTo>
                      <a:pt x="69" y="51"/>
                      <a:pt x="94" y="34"/>
                      <a:pt x="124" y="26"/>
                    </a:cubicBezTo>
                    <a:close/>
                    <a:moveTo>
                      <a:pt x="51" y="245"/>
                    </a:moveTo>
                    <a:cubicBezTo>
                      <a:pt x="105" y="245"/>
                      <a:pt x="105" y="245"/>
                      <a:pt x="105" y="245"/>
                    </a:cubicBezTo>
                    <a:cubicBezTo>
                      <a:pt x="110" y="264"/>
                      <a:pt x="116" y="281"/>
                      <a:pt x="124" y="293"/>
                    </a:cubicBezTo>
                    <a:cubicBezTo>
                      <a:pt x="94" y="285"/>
                      <a:pt x="69" y="268"/>
                      <a:pt x="51" y="245"/>
                    </a:cubicBezTo>
                    <a:close/>
                    <a:moveTo>
                      <a:pt x="196" y="293"/>
                    </a:moveTo>
                    <a:cubicBezTo>
                      <a:pt x="203" y="281"/>
                      <a:pt x="210" y="264"/>
                      <a:pt x="214" y="245"/>
                    </a:cubicBezTo>
                    <a:cubicBezTo>
                      <a:pt x="269" y="245"/>
                      <a:pt x="269" y="245"/>
                      <a:pt x="269" y="245"/>
                    </a:cubicBezTo>
                    <a:cubicBezTo>
                      <a:pt x="251" y="268"/>
                      <a:pt x="225" y="285"/>
                      <a:pt x="196" y="29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" name="Freeform 55">
                <a:extLst>
                  <a:ext uri="{FF2B5EF4-FFF2-40B4-BE49-F238E27FC236}">
                    <a16:creationId xmlns:a16="http://schemas.microsoft.com/office/drawing/2014/main" id="{C6023F7A-281F-C844-BA27-C60AACC50B4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83" y="1046"/>
                <a:ext cx="340" cy="341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A6030B49-ABBA-714D-8A34-EC40E7E014FC}"/>
                </a:ext>
              </a:extLst>
            </p:cNvPr>
            <p:cNvGrpSpPr/>
            <p:nvPr/>
          </p:nvGrpSpPr>
          <p:grpSpPr>
            <a:xfrm>
              <a:off x="11116624" y="173688"/>
              <a:ext cx="365760" cy="365760"/>
              <a:chOff x="6806797" y="2076826"/>
              <a:chExt cx="685804" cy="685804"/>
            </a:xfrm>
            <a:solidFill>
              <a:schemeClr val="bg1">
                <a:lumMod val="75000"/>
              </a:schemeClr>
            </a:solidFill>
          </p:grpSpPr>
          <p:sp>
            <p:nvSpPr>
              <p:cNvPr id="15" name="Freeform 623">
                <a:extLst>
                  <a:ext uri="{FF2B5EF4-FFF2-40B4-BE49-F238E27FC236}">
                    <a16:creationId xmlns:a16="http://schemas.microsoft.com/office/drawing/2014/main" id="{A4FD5118-54E1-AB45-A285-8EC74B0C2A0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06797" y="2076826"/>
                <a:ext cx="685804" cy="685804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pic>
            <p:nvPicPr>
              <p:cNvPr id="16" name="Graphic 15" descr="Target">
                <a:extLst>
                  <a:ext uri="{FF2B5EF4-FFF2-40B4-BE49-F238E27FC236}">
                    <a16:creationId xmlns:a16="http://schemas.microsoft.com/office/drawing/2014/main" id="{F49CF584-F4A5-1646-8AF3-B500F507B81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6852519" y="2122548"/>
                <a:ext cx="594360" cy="594360"/>
              </a:xfrm>
              <a:prstGeom prst="rect">
                <a:avLst/>
              </a:prstGeom>
            </p:spPr>
          </p:pic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7F71AAC5-B834-D242-BB6F-8A482CE61E94}"/>
                </a:ext>
              </a:extLst>
            </p:cNvPr>
            <p:cNvGrpSpPr/>
            <p:nvPr/>
          </p:nvGrpSpPr>
          <p:grpSpPr>
            <a:xfrm>
              <a:off x="11538918" y="173688"/>
              <a:ext cx="365760" cy="365760"/>
              <a:chOff x="6806753" y="3091011"/>
              <a:chExt cx="685800" cy="685800"/>
            </a:xfrm>
            <a:solidFill>
              <a:schemeClr val="bg1">
                <a:lumMod val="75000"/>
              </a:schemeClr>
            </a:solidFill>
          </p:grpSpPr>
          <p:sp>
            <p:nvSpPr>
              <p:cNvPr id="13" name="Freeform 727">
                <a:extLst>
                  <a:ext uri="{FF2B5EF4-FFF2-40B4-BE49-F238E27FC236}">
                    <a16:creationId xmlns:a16="http://schemas.microsoft.com/office/drawing/2014/main" id="{EB066332-9C45-C14B-878C-C484243F361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06753" y="3091011"/>
                <a:ext cx="685800" cy="685800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pic>
            <p:nvPicPr>
              <p:cNvPr id="14" name="Graphic 13" descr="Head with gears">
                <a:extLst>
                  <a:ext uri="{FF2B5EF4-FFF2-40B4-BE49-F238E27FC236}">
                    <a16:creationId xmlns:a16="http://schemas.microsoft.com/office/drawing/2014/main" id="{4B6CB2A0-BC97-DA40-A5FE-F028EA0A512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6932592" y="3216850"/>
                <a:ext cx="434123" cy="434123"/>
              </a:xfrm>
              <a:prstGeom prst="rect">
                <a:avLst/>
              </a:prstGeom>
            </p:spPr>
          </p:pic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BF1345B2-7AD3-6A47-B893-68DE43D819F9}"/>
                </a:ext>
              </a:extLst>
            </p:cNvPr>
            <p:cNvGrpSpPr/>
            <p:nvPr/>
          </p:nvGrpSpPr>
          <p:grpSpPr>
            <a:xfrm>
              <a:off x="10694331" y="173688"/>
              <a:ext cx="365760" cy="365760"/>
              <a:chOff x="6806753" y="2142199"/>
              <a:chExt cx="685804" cy="685804"/>
            </a:xfrm>
          </p:grpSpPr>
          <p:sp>
            <p:nvSpPr>
              <p:cNvPr id="11" name="Freeform 623">
                <a:extLst>
                  <a:ext uri="{FF2B5EF4-FFF2-40B4-BE49-F238E27FC236}">
                    <a16:creationId xmlns:a16="http://schemas.microsoft.com/office/drawing/2014/main" id="{15FD7F61-1750-854A-9E62-FE580DC1D5E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06753" y="2142199"/>
                <a:ext cx="685804" cy="685804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solidFill>
                <a:srgbClr val="36B9EE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pic>
            <p:nvPicPr>
              <p:cNvPr id="12" name="Graphic 11" descr="Badge Tick outline">
                <a:extLst>
                  <a:ext uri="{FF2B5EF4-FFF2-40B4-BE49-F238E27FC236}">
                    <a16:creationId xmlns:a16="http://schemas.microsoft.com/office/drawing/2014/main" id="{32933E97-681E-AD44-99AA-4FDAFC6D4F0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6834429" y="2170883"/>
                <a:ext cx="628436" cy="628436"/>
              </a:xfrm>
              <a:prstGeom prst="rect">
                <a:avLst/>
              </a:prstGeom>
            </p:spPr>
          </p:pic>
        </p:grpSp>
      </p:grpSp>
      <p:sp>
        <p:nvSpPr>
          <p:cNvPr id="23" name="Content Placeholder 1">
            <a:extLst>
              <a:ext uri="{FF2B5EF4-FFF2-40B4-BE49-F238E27FC236}">
                <a16:creationId xmlns:a16="http://schemas.microsoft.com/office/drawing/2014/main" id="{BEE15851-939A-1A44-A774-AF03855559D8}"/>
              </a:ext>
            </a:extLst>
          </p:cNvPr>
          <p:cNvSpPr txBox="1">
            <a:spLocks/>
          </p:cNvSpPr>
          <p:nvPr/>
        </p:nvSpPr>
        <p:spPr>
          <a:xfrm>
            <a:off x="464998" y="1676400"/>
            <a:ext cx="2397946" cy="4705351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 spc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spc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spc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spc="0" baseline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spc="0" baseline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By default the notebook is set to read a local csv file named “AI350_mockdata”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o read in live data, connect the notebook to Snowflake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Navigate to the ”Survey Responses” sheet from Dash 1 dashboard. Check the data source from the L hand data panel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Navigate to the Tableau “Data” menu and select “Replace Data Source”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313131"/>
                </a:solidFill>
              </a:rPr>
              <a:t>Replace current “AI360_mockdata” with “INTERIM_DATA_2 (Primary Data Source)” from Snowflake</a:t>
            </a: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BF9A7E20-C5DD-2A4A-9E70-AA50A0E9B7BA}"/>
              </a:ext>
            </a:extLst>
          </p:cNvPr>
          <p:cNvSpPr txBox="1">
            <a:spLocks/>
          </p:cNvSpPr>
          <p:nvPr/>
        </p:nvSpPr>
        <p:spPr>
          <a:xfrm>
            <a:off x="469900" y="1127760"/>
            <a:ext cx="2393043" cy="548640"/>
          </a:xfrm>
          <a:prstGeom prst="rect">
            <a:avLst/>
          </a:prstGeom>
          <a:solidFill>
            <a:srgbClr val="7ACAEE"/>
          </a:solidFill>
        </p:spPr>
        <p:txBody>
          <a:bodyPr anchor="ctr"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 spc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spc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spc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spc="0" baseline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spc="0" baseline="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/>
              <a:t>Change Data Source</a:t>
            </a:r>
          </a:p>
        </p:txBody>
      </p:sp>
      <p:pic>
        <p:nvPicPr>
          <p:cNvPr id="4" name="Picture 3" descr="Graphical user interface, table&#10;&#10;Description automatically generated">
            <a:extLst>
              <a:ext uri="{FF2B5EF4-FFF2-40B4-BE49-F238E27FC236}">
                <a16:creationId xmlns:a16="http://schemas.microsoft.com/office/drawing/2014/main" id="{B7FB78CE-365B-C746-B9BD-01A4558CB686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6" r="40760" b="54371"/>
          <a:stretch/>
        </p:blipFill>
        <p:spPr>
          <a:xfrm>
            <a:off x="3016332" y="1127760"/>
            <a:ext cx="2989181" cy="1580852"/>
          </a:xfrm>
          <a:prstGeom prst="rect">
            <a:avLst/>
          </a:prstGeom>
          <a:ln>
            <a:solidFill>
              <a:schemeClr val="bg2"/>
            </a:solidFill>
          </a:ln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3ACC1E62-C79C-9147-ACB6-C6A9F5377BFF}"/>
              </a:ext>
            </a:extLst>
          </p:cNvPr>
          <p:cNvSpPr txBox="1"/>
          <p:nvPr/>
        </p:nvSpPr>
        <p:spPr>
          <a:xfrm>
            <a:off x="3016331" y="2708612"/>
            <a:ext cx="2989181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1000" dirty="0">
                <a:solidFill>
                  <a:srgbClr val="31313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efault data source for charts is set to AI360_mockdata. Blue check mark indicates current data source for a sheet.</a:t>
            </a:r>
          </a:p>
        </p:txBody>
      </p:sp>
      <p:pic>
        <p:nvPicPr>
          <p:cNvPr id="22" name="Picture 21" descr="Graphical user interface, text, application, email&#10;&#10;Description automatically generated">
            <a:extLst>
              <a:ext uri="{FF2B5EF4-FFF2-40B4-BE49-F238E27FC236}">
                <a16:creationId xmlns:a16="http://schemas.microsoft.com/office/drawing/2014/main" id="{C00026E2-30BB-1242-83BD-F48C01B4CEA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9438" y="1127112"/>
            <a:ext cx="3603257" cy="2043165"/>
          </a:xfrm>
          <a:prstGeom prst="rect">
            <a:avLst/>
          </a:prstGeom>
          <a:ln>
            <a:solidFill>
              <a:schemeClr val="bg2"/>
            </a:solidFill>
          </a:ln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65FC2DE0-E439-A340-88EF-B843A2820342}"/>
              </a:ext>
            </a:extLst>
          </p:cNvPr>
          <p:cNvSpPr txBox="1"/>
          <p:nvPr/>
        </p:nvSpPr>
        <p:spPr>
          <a:xfrm>
            <a:off x="6375236" y="3184201"/>
            <a:ext cx="3603257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1000" dirty="0">
                <a:solidFill>
                  <a:srgbClr val="31313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elect “Replace Data Source…” from the Data menu</a:t>
            </a:r>
          </a:p>
        </p:txBody>
      </p:sp>
      <p:pic>
        <p:nvPicPr>
          <p:cNvPr id="27" name="Picture 26" descr="Graphical user interface, text, application, chat or text message&#10;&#10;Description automatically generated">
            <a:extLst>
              <a:ext uri="{FF2B5EF4-FFF2-40B4-BE49-F238E27FC236}">
                <a16:creationId xmlns:a16="http://schemas.microsoft.com/office/drawing/2014/main" id="{92AD6E90-7A15-214D-B7BB-64FA8E2270A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5236" y="3687724"/>
            <a:ext cx="3632199" cy="1613461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2DA6CD26-0A58-2F41-9FF4-A6B6BA51D017}"/>
              </a:ext>
            </a:extLst>
          </p:cNvPr>
          <p:cNvSpPr txBox="1"/>
          <p:nvPr/>
        </p:nvSpPr>
        <p:spPr>
          <a:xfrm>
            <a:off x="6375236" y="5305609"/>
            <a:ext cx="360325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1000" dirty="0">
                <a:solidFill>
                  <a:srgbClr val="31313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place current “AI360_mockdata” with “INTERIM_DATA_2 (Primary Data Source)” from Snowflake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0799603A-2755-4247-9FEE-D57108656D88}"/>
              </a:ext>
            </a:extLst>
          </p:cNvPr>
          <p:cNvSpPr txBox="1"/>
          <p:nvPr/>
        </p:nvSpPr>
        <p:spPr>
          <a:xfrm>
            <a:off x="8802231" y="298135"/>
            <a:ext cx="1312860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200" b="1" dirty="0">
                <a:solidFill>
                  <a:srgbClr val="C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RITICAL ACTION</a:t>
            </a:r>
          </a:p>
        </p:txBody>
      </p:sp>
    </p:spTree>
    <p:extLst>
      <p:ext uri="{BB962C8B-B14F-4D97-AF65-F5344CB8AC3E}">
        <p14:creationId xmlns:p14="http://schemas.microsoft.com/office/powerpoint/2010/main" val="3401102727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zwamWJRxav7sz7hdJ6M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zwamWJRxav7sz7hdJ6M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zwamWJRxav7sz7hdJ6M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soJGsUQue61PenWq2EK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soJGsUQue61PenWq2EK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zwamWJRxav7sz7hdJ6M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zwamWJRxav7sz7hdJ6M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Deloitte 16_9 onscreen">
  <a:themeElements>
    <a:clrScheme name="Deloitte colors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954F72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Deloitte 16_9 onscreen" id="{5BF5B43D-7990-4CDA-BE48-497BCBC1470C}" vid="{BE4EDB12-465C-4398-86A0-E4F2803CBF9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af6661fd-66ac-4414-b2c0-3f5e53dbad93">
      <UserInfo>
        <DisplayName>Moir, Ally</DisplayName>
        <AccountId>40</AccountId>
        <AccountType/>
      </UserInfo>
      <UserInfo>
        <DisplayName>Roberts, Aaron</DisplayName>
        <AccountId>21</AccountId>
        <AccountType/>
      </UserInfo>
    </SharedWithUsers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D29CE4D82BE804DAE73CF1167AE8F17" ma:contentTypeVersion="11" ma:contentTypeDescription="Create a new document." ma:contentTypeScope="" ma:versionID="6290a8acded450f0cd02a00d649f94c1">
  <xsd:schema xmlns:xsd="http://www.w3.org/2001/XMLSchema" xmlns:xs="http://www.w3.org/2001/XMLSchema" xmlns:p="http://schemas.microsoft.com/office/2006/metadata/properties" xmlns:ns2="8101557c-a5cf-43cf-a088-bca9ac2a36e4" xmlns:ns3="af6661fd-66ac-4414-b2c0-3f5e53dbad93" targetNamespace="http://schemas.microsoft.com/office/2006/metadata/properties" ma:root="true" ma:fieldsID="ff6866e82961c559e9047d0a14624f50" ns2:_="" ns3:_="">
    <xsd:import namespace="8101557c-a5cf-43cf-a088-bca9ac2a36e4"/>
    <xsd:import namespace="af6661fd-66ac-4414-b2c0-3f5e53dbad9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101557c-a5cf-43cf-a088-bca9ac2a36e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f6661fd-66ac-4414-b2c0-3f5e53dbad93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9B1818B-1753-4691-9127-2806D3D8044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9D57DE7-B111-4179-87DD-71E11D02205E}">
  <ds:schemaRefs>
    <ds:schemaRef ds:uri="af6661fd-66ac-4414-b2c0-3f5e53dbad93"/>
    <ds:schemaRef ds:uri="http://purl.org/dc/terms/"/>
    <ds:schemaRef ds:uri="http://purl.org/dc/elements/1.1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purl.org/dc/dcmitype/"/>
    <ds:schemaRef ds:uri="8101557c-a5cf-43cf-a088-bca9ac2a36e4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2DE7E2C4-E552-48F0-B050-0D8626B23BF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101557c-a5cf-43cf-a088-bca9ac2a36e4"/>
    <ds:schemaRef ds:uri="af6661fd-66ac-4414-b2c0-3f5e53dbad9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699</TotalTime>
  <Words>2369</Words>
  <Application>Microsoft Macintosh PowerPoint</Application>
  <PresentationFormat>Widescreen</PresentationFormat>
  <Paragraphs>259</Paragraphs>
  <Slides>27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36" baseType="lpstr">
      <vt:lpstr>Arial</vt:lpstr>
      <vt:lpstr>Calibri</vt:lpstr>
      <vt:lpstr>Chronicle Display Black</vt:lpstr>
      <vt:lpstr>Consolas</vt:lpstr>
      <vt:lpstr>Open Sans</vt:lpstr>
      <vt:lpstr>Verdana</vt:lpstr>
      <vt:lpstr>Wingdings 2</vt:lpstr>
      <vt:lpstr>2_Deloitte 16_9 onscreen</vt:lpstr>
      <vt:lpstr>think-cell Slide</vt:lpstr>
      <vt:lpstr>PowerPoint Presentation</vt:lpstr>
      <vt:lpstr>Table of Contents</vt:lpstr>
      <vt:lpstr>PowerPoint Presentation</vt:lpstr>
      <vt:lpstr>Tableau File System</vt:lpstr>
      <vt:lpstr>Tableau Development Checklist</vt:lpstr>
      <vt:lpstr>PowerPoint Presentation</vt:lpstr>
      <vt:lpstr>File Setup | System Requirements</vt:lpstr>
      <vt:lpstr>Connect to Data | Snowflake Driver</vt:lpstr>
      <vt:lpstr>Connect to Data | Data Source</vt:lpstr>
      <vt:lpstr>Connect to Data | Data Source</vt:lpstr>
      <vt:lpstr>PowerPoint Presentation</vt:lpstr>
      <vt:lpstr>Filters | Organizations Names</vt:lpstr>
      <vt:lpstr>Filters | Organizations Names</vt:lpstr>
      <vt:lpstr>Filters | Organizations Names</vt:lpstr>
      <vt:lpstr>PowerPoint Presentation</vt:lpstr>
      <vt:lpstr>AI Readiness | Pillar Text (1 of 2)</vt:lpstr>
      <vt:lpstr>AI Readiness | Pillar Text (2 of 2)</vt:lpstr>
      <vt:lpstr>Charts | Slider Charts (1 of 3)</vt:lpstr>
      <vt:lpstr>Charts | Slider Charts (2 of 3)</vt:lpstr>
      <vt:lpstr>Charts | Slider Charts (1 of 3)</vt:lpstr>
      <vt:lpstr>Charts | Radar Chart (1 of 2)</vt:lpstr>
      <vt:lpstr>Charts | Radar Chart (2 of 2)</vt:lpstr>
      <vt:lpstr>Appendix</vt:lpstr>
      <vt:lpstr>Export Report | Print Settings</vt:lpstr>
      <vt:lpstr>Tableau Customization | Color Preferences</vt:lpstr>
      <vt:lpstr>Tableau Customization | Typography</vt:lpstr>
      <vt:lpstr>Connect to Data| Tablea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partment of Health &amp; Human Services   AI Readiness Assessment</dc:title>
  <dc:creator>Cornaghie, Drew</dc:creator>
  <cp:lastModifiedBy>Vu, Bic</cp:lastModifiedBy>
  <cp:revision>18</cp:revision>
  <cp:lastPrinted>2020-05-01T16:53:36Z</cp:lastPrinted>
  <dcterms:created xsi:type="dcterms:W3CDTF">2020-04-06T21:10:50Z</dcterms:created>
  <dcterms:modified xsi:type="dcterms:W3CDTF">2022-02-23T03:12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D29CE4D82BE804DAE73CF1167AE8F17</vt:lpwstr>
  </property>
  <property fmtid="{D5CDD505-2E9C-101B-9397-08002B2CF9AE}" pid="3" name="MSIP_Label_ea60d57e-af5b-4752-ac57-3e4f28ca11dc_Enabled">
    <vt:lpwstr>true</vt:lpwstr>
  </property>
  <property fmtid="{D5CDD505-2E9C-101B-9397-08002B2CF9AE}" pid="4" name="MSIP_Label_ea60d57e-af5b-4752-ac57-3e4f28ca11dc_SetDate">
    <vt:lpwstr>2021-05-26T19:03:47Z</vt:lpwstr>
  </property>
  <property fmtid="{D5CDD505-2E9C-101B-9397-08002B2CF9AE}" pid="5" name="MSIP_Label_ea60d57e-af5b-4752-ac57-3e4f28ca11dc_Method">
    <vt:lpwstr>Standard</vt:lpwstr>
  </property>
  <property fmtid="{D5CDD505-2E9C-101B-9397-08002B2CF9AE}" pid="6" name="MSIP_Label_ea60d57e-af5b-4752-ac57-3e4f28ca11dc_Name">
    <vt:lpwstr>ea60d57e-af5b-4752-ac57-3e4f28ca11dc</vt:lpwstr>
  </property>
  <property fmtid="{D5CDD505-2E9C-101B-9397-08002B2CF9AE}" pid="7" name="MSIP_Label_ea60d57e-af5b-4752-ac57-3e4f28ca11dc_SiteId">
    <vt:lpwstr>36da45f1-dd2c-4d1f-af13-5abe46b99921</vt:lpwstr>
  </property>
  <property fmtid="{D5CDD505-2E9C-101B-9397-08002B2CF9AE}" pid="8" name="MSIP_Label_ea60d57e-af5b-4752-ac57-3e4f28ca11dc_ActionId">
    <vt:lpwstr>682ba673-308b-4ffa-99d7-231edaf76069</vt:lpwstr>
  </property>
  <property fmtid="{D5CDD505-2E9C-101B-9397-08002B2CF9AE}" pid="9" name="MSIP_Label_ea60d57e-af5b-4752-ac57-3e4f28ca11dc_ContentBits">
    <vt:lpwstr>0</vt:lpwstr>
  </property>
</Properties>
</file>